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39"/>
  </p:notesMasterIdLst>
  <p:sldIdLst>
    <p:sldId id="260" r:id="rId2"/>
    <p:sldId id="268" r:id="rId3"/>
    <p:sldId id="269" r:id="rId4"/>
    <p:sldId id="257" r:id="rId5"/>
    <p:sldId id="258" r:id="rId6"/>
    <p:sldId id="306" r:id="rId7"/>
    <p:sldId id="312" r:id="rId8"/>
    <p:sldId id="313" r:id="rId9"/>
    <p:sldId id="287" r:id="rId10"/>
    <p:sldId id="316" r:id="rId11"/>
    <p:sldId id="288" r:id="rId12"/>
    <p:sldId id="289" r:id="rId13"/>
    <p:sldId id="304" r:id="rId14"/>
    <p:sldId id="317" r:id="rId15"/>
    <p:sldId id="285" r:id="rId16"/>
    <p:sldId id="290" r:id="rId17"/>
    <p:sldId id="318" r:id="rId18"/>
    <p:sldId id="323" r:id="rId19"/>
    <p:sldId id="324" r:id="rId20"/>
    <p:sldId id="325" r:id="rId21"/>
    <p:sldId id="322" r:id="rId22"/>
    <p:sldId id="326" r:id="rId23"/>
    <p:sldId id="319" r:id="rId24"/>
    <p:sldId id="291" r:id="rId25"/>
    <p:sldId id="292" r:id="rId26"/>
    <p:sldId id="293" r:id="rId27"/>
    <p:sldId id="320" r:id="rId28"/>
    <p:sldId id="298" r:id="rId29"/>
    <p:sldId id="327" r:id="rId30"/>
    <p:sldId id="314" r:id="rId31"/>
    <p:sldId id="321" r:id="rId32"/>
    <p:sldId id="315" r:id="rId33"/>
    <p:sldId id="279" r:id="rId34"/>
    <p:sldId id="267" r:id="rId35"/>
    <p:sldId id="264" r:id="rId36"/>
    <p:sldId id="270" r:id="rId37"/>
    <p:sldId id="263" r:id="rId38"/>
  </p:sldIdLst>
  <p:sldSz cx="12192000" cy="6858000"/>
  <p:notesSz cx="6858000" cy="9144000"/>
  <p:embeddedFontLst>
    <p:embeddedFont>
      <p:font typeface="Calibri Light" panose="020F0302020204030204" pitchFamily="34" charset="0"/>
      <p:regular r:id="rId40"/>
      <p:italic r:id="rId41"/>
    </p:embeddedFont>
    <p:embeddedFont>
      <p:font typeface="Calibri" panose="020F0502020204030204" pitchFamily="34" charset="0"/>
      <p:regular r:id="rId42"/>
      <p:bold r:id="rId43"/>
      <p:italic r:id="rId44"/>
      <p:boldItalic r:id="rId45"/>
    </p:embeddedFont>
    <p:embeddedFont>
      <p:font typeface="Rabiohead" panose="020B0604020202020204" charset="0"/>
      <p:regular r:id="rId46"/>
    </p:embeddedFont>
    <p:embeddedFont>
      <p:font typeface="Segoe UI" panose="020B0502040204020203" pitchFamily="34" charset="0"/>
      <p:regular r:id="rId47"/>
      <p:bold r:id="rId48"/>
      <p:italic r:id="rId49"/>
      <p:boldItalic r:id="rId50"/>
    </p:embeddedFont>
    <p:embeddedFont>
      <p:font typeface="Segoe UI Light" panose="020B0502040204020203" pitchFamily="34" charset="0"/>
      <p:regular r:id="rId51"/>
      <p:italic r:id="rId52"/>
    </p:embeddedFont>
  </p:embeddedFont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2828"/>
    <a:srgbClr val="93D1FF"/>
    <a:srgbClr val="0072C5"/>
    <a:srgbClr val="0594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192" autoAdjust="0"/>
    <p:restoredTop sz="92672" autoAdjust="0"/>
  </p:normalViewPr>
  <p:slideViewPr>
    <p:cSldViewPr snapToGrid="0" showGuides="1">
      <p:cViewPr varScale="1">
        <p:scale>
          <a:sx n="62" d="100"/>
          <a:sy n="62" d="100"/>
        </p:scale>
        <p:origin x="600" y="5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636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font" Target="fonts/font3.fntdata"/><Relationship Id="rId47" Type="http://schemas.openxmlformats.org/officeDocument/2006/relationships/font" Target="fonts/font8.fntdata"/><Relationship Id="rId50" Type="http://schemas.openxmlformats.org/officeDocument/2006/relationships/font" Target="fonts/font11.fntdata"/><Relationship Id="rId55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font" Target="fonts/font7.fntdata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font" Target="fonts/font2.fntdata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font" Target="fonts/font1.fntdata"/><Relationship Id="rId45" Type="http://schemas.openxmlformats.org/officeDocument/2006/relationships/font" Target="fonts/font6.fntdata"/><Relationship Id="rId53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font" Target="fonts/font10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font" Target="fonts/font5.fntdata"/><Relationship Id="rId52" Type="http://schemas.openxmlformats.org/officeDocument/2006/relationships/font" Target="fonts/font13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font" Target="fonts/font4.fntdata"/><Relationship Id="rId48" Type="http://schemas.openxmlformats.org/officeDocument/2006/relationships/font" Target="fonts/font9.fntdata"/><Relationship Id="rId56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font" Target="fonts/font12.fntdata"/><Relationship Id="rId3" Type="http://schemas.openxmlformats.org/officeDocument/2006/relationships/slide" Target="slides/slide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BB86FA5-2322-4465-882F-C51F7B3F6E5C}" type="doc">
      <dgm:prSet loTypeId="urn:microsoft.com/office/officeart/2005/8/layout/venn2" loCatId="relationship" qsTypeId="urn:microsoft.com/office/officeart/2005/8/quickstyle/simple5" qsCatId="simple" csTypeId="urn:microsoft.com/office/officeart/2005/8/colors/colorful5" csCatId="colorful" phldr="1"/>
      <dgm:spPr/>
      <dgm:t>
        <a:bodyPr/>
        <a:lstStyle/>
        <a:p>
          <a:endParaRPr lang="es-CR"/>
        </a:p>
      </dgm:t>
    </dgm:pt>
    <dgm:pt modelId="{F794FEC8-A01C-44C3-B92B-6A79C1718C2B}">
      <dgm:prSet phldrT="[Text]" custT="1"/>
      <dgm:spPr>
        <a:solidFill>
          <a:schemeClr val="accent1"/>
        </a:solidFill>
        <a:ln w="19050">
          <a:solidFill>
            <a:srgbClr val="282828"/>
          </a:solidFill>
        </a:ln>
      </dgm:spPr>
      <dgm:t>
        <a:bodyPr/>
        <a:lstStyle/>
        <a:p>
          <a:r>
            <a:rPr lang="es-UY" sz="1600" b="1" noProof="0" dirty="0" smtClean="0">
              <a:solidFill>
                <a:schemeClr val="bg1"/>
              </a:solidFill>
            </a:rPr>
            <a:t>Procesos</a:t>
          </a:r>
          <a:endParaRPr lang="es-UY" sz="1600" b="1" noProof="0" dirty="0">
            <a:solidFill>
              <a:schemeClr val="bg1"/>
            </a:solidFill>
          </a:endParaRPr>
        </a:p>
      </dgm:t>
    </dgm:pt>
    <dgm:pt modelId="{CD7848D1-6347-47D0-8E6D-AD4D1E533FC3}" type="parTrans" cxnId="{21DF7EAC-8E69-4D56-A151-16FFF8232177}">
      <dgm:prSet/>
      <dgm:spPr/>
      <dgm:t>
        <a:bodyPr/>
        <a:lstStyle/>
        <a:p>
          <a:endParaRPr lang="es-UY" noProof="0"/>
        </a:p>
      </dgm:t>
    </dgm:pt>
    <dgm:pt modelId="{97A9799E-07CB-4EB0-BC6F-2137D0022A08}" type="sibTrans" cxnId="{21DF7EAC-8E69-4D56-A151-16FFF8232177}">
      <dgm:prSet/>
      <dgm:spPr/>
      <dgm:t>
        <a:bodyPr/>
        <a:lstStyle/>
        <a:p>
          <a:endParaRPr lang="es-UY" noProof="0"/>
        </a:p>
      </dgm:t>
    </dgm:pt>
    <dgm:pt modelId="{AFDB469A-5E69-403B-B2F8-EE791404C03F}">
      <dgm:prSet phldrT="[Text]" custT="1"/>
      <dgm:spPr>
        <a:solidFill>
          <a:schemeClr val="accent1"/>
        </a:solidFill>
        <a:ln w="19050">
          <a:solidFill>
            <a:srgbClr val="282828"/>
          </a:solidFill>
        </a:ln>
      </dgm:spPr>
      <dgm:t>
        <a:bodyPr/>
        <a:lstStyle/>
        <a:p>
          <a:r>
            <a:rPr lang="es-UY" sz="1600" b="1" noProof="0" dirty="0" smtClean="0">
              <a:solidFill>
                <a:schemeClr val="bg1"/>
              </a:solidFill>
            </a:rPr>
            <a:t>Arquitectura</a:t>
          </a:r>
          <a:br>
            <a:rPr lang="es-UY" sz="1600" b="1" noProof="0" dirty="0" smtClean="0">
              <a:solidFill>
                <a:schemeClr val="bg1"/>
              </a:solidFill>
            </a:rPr>
          </a:br>
          <a:r>
            <a:rPr lang="es-UY" sz="1600" b="1" noProof="0" dirty="0" smtClean="0">
              <a:solidFill>
                <a:schemeClr val="bg1"/>
              </a:solidFill>
            </a:rPr>
            <a:t>Información</a:t>
          </a:r>
          <a:endParaRPr lang="es-UY" sz="1600" b="1" noProof="0" dirty="0">
            <a:solidFill>
              <a:schemeClr val="bg1"/>
            </a:solidFill>
          </a:endParaRPr>
        </a:p>
      </dgm:t>
    </dgm:pt>
    <dgm:pt modelId="{CDC27DE7-5A1A-4AF1-82F4-C583AE610499}" type="parTrans" cxnId="{07B8528A-D013-4C95-B957-121C111BAC8E}">
      <dgm:prSet/>
      <dgm:spPr/>
      <dgm:t>
        <a:bodyPr/>
        <a:lstStyle/>
        <a:p>
          <a:endParaRPr lang="es-UY" noProof="0"/>
        </a:p>
      </dgm:t>
    </dgm:pt>
    <dgm:pt modelId="{8CD09FDB-AA94-43A0-8A46-C1B0CF57C4F2}" type="sibTrans" cxnId="{07B8528A-D013-4C95-B957-121C111BAC8E}">
      <dgm:prSet/>
      <dgm:spPr/>
      <dgm:t>
        <a:bodyPr/>
        <a:lstStyle/>
        <a:p>
          <a:endParaRPr lang="es-UY" noProof="0"/>
        </a:p>
      </dgm:t>
    </dgm:pt>
    <dgm:pt modelId="{306E8366-A741-4148-85E0-FC3F2A605F1B}">
      <dgm:prSet phldrT="[Text]" custT="1"/>
      <dgm:spPr>
        <a:solidFill>
          <a:schemeClr val="accent1"/>
        </a:solidFill>
        <a:ln w="19050">
          <a:solidFill>
            <a:srgbClr val="282828"/>
          </a:solidFill>
        </a:ln>
      </dgm:spPr>
      <dgm:t>
        <a:bodyPr/>
        <a:lstStyle/>
        <a:p>
          <a:r>
            <a:rPr lang="es-UY" sz="1600" b="1" noProof="0" dirty="0" smtClean="0">
              <a:solidFill>
                <a:schemeClr val="bg1"/>
              </a:solidFill>
            </a:rPr>
            <a:t>Administración de  Contenido</a:t>
          </a:r>
          <a:endParaRPr lang="es-UY" sz="1600" b="1" noProof="0" dirty="0">
            <a:solidFill>
              <a:schemeClr val="bg1"/>
            </a:solidFill>
          </a:endParaRPr>
        </a:p>
      </dgm:t>
    </dgm:pt>
    <dgm:pt modelId="{AFD88A8E-A927-4ECA-910A-B6128DF22DDF}" type="parTrans" cxnId="{7FC11268-709B-4CD4-8B46-D43455632B64}">
      <dgm:prSet/>
      <dgm:spPr/>
      <dgm:t>
        <a:bodyPr/>
        <a:lstStyle/>
        <a:p>
          <a:endParaRPr lang="es-UY" noProof="0"/>
        </a:p>
      </dgm:t>
    </dgm:pt>
    <dgm:pt modelId="{2F68736A-AB10-4796-B08D-60C44E09E609}" type="sibTrans" cxnId="{7FC11268-709B-4CD4-8B46-D43455632B64}">
      <dgm:prSet/>
      <dgm:spPr/>
      <dgm:t>
        <a:bodyPr/>
        <a:lstStyle/>
        <a:p>
          <a:endParaRPr lang="es-UY" noProof="0"/>
        </a:p>
      </dgm:t>
    </dgm:pt>
    <dgm:pt modelId="{C50DDA5A-24D2-46D3-B8B2-3352D16407BB}">
      <dgm:prSet phldrT="[Text]" custT="1"/>
      <dgm:spPr>
        <a:solidFill>
          <a:schemeClr val="accent1"/>
        </a:solidFill>
        <a:ln w="19050">
          <a:solidFill>
            <a:srgbClr val="282828"/>
          </a:solidFill>
        </a:ln>
      </dgm:spPr>
      <dgm:t>
        <a:bodyPr/>
        <a:lstStyle/>
        <a:p>
          <a:r>
            <a:rPr lang="es-UY" sz="1600" b="1" noProof="0" dirty="0" smtClean="0">
              <a:solidFill>
                <a:schemeClr val="bg1"/>
              </a:solidFill>
            </a:rPr>
            <a:t>Análisis de Información</a:t>
          </a:r>
          <a:endParaRPr lang="es-UY" sz="1600" b="1" noProof="0" dirty="0">
            <a:solidFill>
              <a:schemeClr val="bg1"/>
            </a:solidFill>
          </a:endParaRPr>
        </a:p>
      </dgm:t>
    </dgm:pt>
    <dgm:pt modelId="{90EF3086-F648-485D-BF1B-A2975628C716}" type="sibTrans" cxnId="{6F29F83D-BB51-48C4-B7EF-F051046BB444}">
      <dgm:prSet/>
      <dgm:spPr/>
      <dgm:t>
        <a:bodyPr/>
        <a:lstStyle/>
        <a:p>
          <a:endParaRPr lang="es-UY" noProof="0"/>
        </a:p>
      </dgm:t>
    </dgm:pt>
    <dgm:pt modelId="{5BA8A49E-1862-4F49-9511-70AF305BE1EF}" type="parTrans" cxnId="{6F29F83D-BB51-48C4-B7EF-F051046BB444}">
      <dgm:prSet/>
      <dgm:spPr/>
      <dgm:t>
        <a:bodyPr/>
        <a:lstStyle/>
        <a:p>
          <a:endParaRPr lang="es-UY" noProof="0"/>
        </a:p>
      </dgm:t>
    </dgm:pt>
    <dgm:pt modelId="{35240946-3D5E-45C7-A5FD-06DCA21F7611}" type="pres">
      <dgm:prSet presAssocID="{7BB86FA5-2322-4465-882F-C51F7B3F6E5C}" presName="Name0" presStyleCnt="0">
        <dgm:presLayoutVars>
          <dgm:chMax val="7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F71E9B7E-733F-43C2-96BE-D49D71DE087A}" type="pres">
      <dgm:prSet presAssocID="{7BB86FA5-2322-4465-882F-C51F7B3F6E5C}" presName="comp1" presStyleCnt="0"/>
      <dgm:spPr/>
    </dgm:pt>
    <dgm:pt modelId="{F895B689-56A0-4913-9FD6-329B591D7965}" type="pres">
      <dgm:prSet presAssocID="{7BB86FA5-2322-4465-882F-C51F7B3F6E5C}" presName="circle1" presStyleLbl="node1" presStyleIdx="0" presStyleCnt="4" custScaleX="104247"/>
      <dgm:spPr/>
      <dgm:t>
        <a:bodyPr/>
        <a:lstStyle/>
        <a:p>
          <a:endParaRPr lang="es-CR"/>
        </a:p>
      </dgm:t>
    </dgm:pt>
    <dgm:pt modelId="{5A89C594-CE05-4BD7-B06F-3C9CF18E8B8B}" type="pres">
      <dgm:prSet presAssocID="{7BB86FA5-2322-4465-882F-C51F7B3F6E5C}" presName="c1text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s-CR"/>
        </a:p>
      </dgm:t>
    </dgm:pt>
    <dgm:pt modelId="{2F301100-AACB-42F7-B72D-9E1EBFE6A70E}" type="pres">
      <dgm:prSet presAssocID="{7BB86FA5-2322-4465-882F-C51F7B3F6E5C}" presName="comp2" presStyleCnt="0"/>
      <dgm:spPr/>
    </dgm:pt>
    <dgm:pt modelId="{46583846-B6CC-47F9-8487-2EBCAF8E53E2}" type="pres">
      <dgm:prSet presAssocID="{7BB86FA5-2322-4465-882F-C51F7B3F6E5C}" presName="circle2" presStyleLbl="node1" presStyleIdx="1" presStyleCnt="4" custScaleX="110898" custScaleY="103115"/>
      <dgm:spPr/>
      <dgm:t>
        <a:bodyPr/>
        <a:lstStyle/>
        <a:p>
          <a:endParaRPr lang="es-CR"/>
        </a:p>
      </dgm:t>
    </dgm:pt>
    <dgm:pt modelId="{2765F5C2-F162-4343-B7FA-B4CE26650137}" type="pres">
      <dgm:prSet presAssocID="{7BB86FA5-2322-4465-882F-C51F7B3F6E5C}" presName="c2text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s-CR"/>
        </a:p>
      </dgm:t>
    </dgm:pt>
    <dgm:pt modelId="{41670AF4-9E25-4780-9F61-0F686136BD7F}" type="pres">
      <dgm:prSet presAssocID="{7BB86FA5-2322-4465-882F-C51F7B3F6E5C}" presName="comp3" presStyleCnt="0"/>
      <dgm:spPr/>
    </dgm:pt>
    <dgm:pt modelId="{EE7CB58F-5E4B-415B-A3E4-2478D202EF1C}" type="pres">
      <dgm:prSet presAssocID="{7BB86FA5-2322-4465-882F-C51F7B3F6E5C}" presName="circle3" presStyleLbl="node1" presStyleIdx="2" presStyleCnt="4" custScaleX="110018"/>
      <dgm:spPr/>
      <dgm:t>
        <a:bodyPr/>
        <a:lstStyle/>
        <a:p>
          <a:endParaRPr lang="en-US"/>
        </a:p>
      </dgm:t>
    </dgm:pt>
    <dgm:pt modelId="{DC661BF0-3C9E-4AD6-899C-53CC6FA6A618}" type="pres">
      <dgm:prSet presAssocID="{7BB86FA5-2322-4465-882F-C51F7B3F6E5C}" presName="c3text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6BC40CB-6E94-49E1-991D-F2D140A1E138}" type="pres">
      <dgm:prSet presAssocID="{7BB86FA5-2322-4465-882F-C51F7B3F6E5C}" presName="comp4" presStyleCnt="0"/>
      <dgm:spPr/>
    </dgm:pt>
    <dgm:pt modelId="{155B4E4A-D385-4A75-B0FF-A887154E6242}" type="pres">
      <dgm:prSet presAssocID="{7BB86FA5-2322-4465-882F-C51F7B3F6E5C}" presName="circle4" presStyleLbl="node1" presStyleIdx="3" presStyleCnt="4" custScaleX="114568"/>
      <dgm:spPr/>
      <dgm:t>
        <a:bodyPr/>
        <a:lstStyle/>
        <a:p>
          <a:endParaRPr lang="es-CR"/>
        </a:p>
      </dgm:t>
    </dgm:pt>
    <dgm:pt modelId="{591B8F7E-AF97-4AE5-A702-442F1F0018D0}" type="pres">
      <dgm:prSet presAssocID="{7BB86FA5-2322-4465-882F-C51F7B3F6E5C}" presName="c4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s-CR"/>
        </a:p>
      </dgm:t>
    </dgm:pt>
  </dgm:ptLst>
  <dgm:cxnLst>
    <dgm:cxn modelId="{6F29F83D-BB51-48C4-B7EF-F051046BB444}" srcId="{7BB86FA5-2322-4465-882F-C51F7B3F6E5C}" destId="{C50DDA5A-24D2-46D3-B8B2-3352D16407BB}" srcOrd="3" destOrd="0" parTransId="{5BA8A49E-1862-4F49-9511-70AF305BE1EF}" sibTransId="{90EF3086-F648-485D-BF1B-A2975628C716}"/>
    <dgm:cxn modelId="{499DCF9F-0980-43D8-AD40-E58728A3AB08}" type="presOf" srcId="{7BB86FA5-2322-4465-882F-C51F7B3F6E5C}" destId="{35240946-3D5E-45C7-A5FD-06DCA21F7611}" srcOrd="0" destOrd="0" presId="urn:microsoft.com/office/officeart/2005/8/layout/venn2"/>
    <dgm:cxn modelId="{F48A84CE-A60A-4839-BC91-BBDD89BBBF87}" type="presOf" srcId="{C50DDA5A-24D2-46D3-B8B2-3352D16407BB}" destId="{591B8F7E-AF97-4AE5-A702-442F1F0018D0}" srcOrd="1" destOrd="0" presId="urn:microsoft.com/office/officeart/2005/8/layout/venn2"/>
    <dgm:cxn modelId="{CD593745-6F80-4B1E-A759-C94BAC4D6815}" type="presOf" srcId="{306E8366-A741-4148-85E0-FC3F2A605F1B}" destId="{46583846-B6CC-47F9-8487-2EBCAF8E53E2}" srcOrd="0" destOrd="0" presId="urn:microsoft.com/office/officeart/2005/8/layout/venn2"/>
    <dgm:cxn modelId="{07B8528A-D013-4C95-B957-121C111BAC8E}" srcId="{7BB86FA5-2322-4465-882F-C51F7B3F6E5C}" destId="{AFDB469A-5E69-403B-B2F8-EE791404C03F}" srcOrd="2" destOrd="0" parTransId="{CDC27DE7-5A1A-4AF1-82F4-C583AE610499}" sibTransId="{8CD09FDB-AA94-43A0-8A46-C1B0CF57C4F2}"/>
    <dgm:cxn modelId="{D718CFA5-DA74-4927-A17B-3287D1E00ED9}" type="presOf" srcId="{F794FEC8-A01C-44C3-B92B-6A79C1718C2B}" destId="{5A89C594-CE05-4BD7-B06F-3C9CF18E8B8B}" srcOrd="1" destOrd="0" presId="urn:microsoft.com/office/officeart/2005/8/layout/venn2"/>
    <dgm:cxn modelId="{D5FA432A-11B7-4752-8DC5-D66D827AA485}" type="presOf" srcId="{AFDB469A-5E69-403B-B2F8-EE791404C03F}" destId="{DC661BF0-3C9E-4AD6-899C-53CC6FA6A618}" srcOrd="1" destOrd="0" presId="urn:microsoft.com/office/officeart/2005/8/layout/venn2"/>
    <dgm:cxn modelId="{9D5A1B1C-7D3B-4A6F-9F89-7D12745C94B7}" type="presOf" srcId="{AFDB469A-5E69-403B-B2F8-EE791404C03F}" destId="{EE7CB58F-5E4B-415B-A3E4-2478D202EF1C}" srcOrd="0" destOrd="0" presId="urn:microsoft.com/office/officeart/2005/8/layout/venn2"/>
    <dgm:cxn modelId="{A52ACB24-6000-4827-91AC-A3D258F9C9D5}" type="presOf" srcId="{C50DDA5A-24D2-46D3-B8B2-3352D16407BB}" destId="{155B4E4A-D385-4A75-B0FF-A887154E6242}" srcOrd="0" destOrd="0" presId="urn:microsoft.com/office/officeart/2005/8/layout/venn2"/>
    <dgm:cxn modelId="{BEE1020A-4E8C-4C28-AFD2-BAAE8B5F7A74}" type="presOf" srcId="{F794FEC8-A01C-44C3-B92B-6A79C1718C2B}" destId="{F895B689-56A0-4913-9FD6-329B591D7965}" srcOrd="0" destOrd="0" presId="urn:microsoft.com/office/officeart/2005/8/layout/venn2"/>
    <dgm:cxn modelId="{21DF7EAC-8E69-4D56-A151-16FFF8232177}" srcId="{7BB86FA5-2322-4465-882F-C51F7B3F6E5C}" destId="{F794FEC8-A01C-44C3-B92B-6A79C1718C2B}" srcOrd="0" destOrd="0" parTransId="{CD7848D1-6347-47D0-8E6D-AD4D1E533FC3}" sibTransId="{97A9799E-07CB-4EB0-BC6F-2137D0022A08}"/>
    <dgm:cxn modelId="{7FC11268-709B-4CD4-8B46-D43455632B64}" srcId="{7BB86FA5-2322-4465-882F-C51F7B3F6E5C}" destId="{306E8366-A741-4148-85E0-FC3F2A605F1B}" srcOrd="1" destOrd="0" parTransId="{AFD88A8E-A927-4ECA-910A-B6128DF22DDF}" sibTransId="{2F68736A-AB10-4796-B08D-60C44E09E609}"/>
    <dgm:cxn modelId="{22132157-3B31-4676-B605-D38FADFF05E4}" type="presOf" srcId="{306E8366-A741-4148-85E0-FC3F2A605F1B}" destId="{2765F5C2-F162-4343-B7FA-B4CE26650137}" srcOrd="1" destOrd="0" presId="urn:microsoft.com/office/officeart/2005/8/layout/venn2"/>
    <dgm:cxn modelId="{F85A7BAE-D232-443E-907D-1FE4BA28FDE4}" type="presParOf" srcId="{35240946-3D5E-45C7-A5FD-06DCA21F7611}" destId="{F71E9B7E-733F-43C2-96BE-D49D71DE087A}" srcOrd="0" destOrd="0" presId="urn:microsoft.com/office/officeart/2005/8/layout/venn2"/>
    <dgm:cxn modelId="{2A31DA9B-495D-4076-A9F4-3267B0D10CCF}" type="presParOf" srcId="{F71E9B7E-733F-43C2-96BE-D49D71DE087A}" destId="{F895B689-56A0-4913-9FD6-329B591D7965}" srcOrd="0" destOrd="0" presId="urn:microsoft.com/office/officeart/2005/8/layout/venn2"/>
    <dgm:cxn modelId="{5AD84FD2-7E43-403E-AE93-D3457D5482D2}" type="presParOf" srcId="{F71E9B7E-733F-43C2-96BE-D49D71DE087A}" destId="{5A89C594-CE05-4BD7-B06F-3C9CF18E8B8B}" srcOrd="1" destOrd="0" presId="urn:microsoft.com/office/officeart/2005/8/layout/venn2"/>
    <dgm:cxn modelId="{2CDAC90C-889C-4A07-B01F-5272AE49EC33}" type="presParOf" srcId="{35240946-3D5E-45C7-A5FD-06DCA21F7611}" destId="{2F301100-AACB-42F7-B72D-9E1EBFE6A70E}" srcOrd="1" destOrd="0" presId="urn:microsoft.com/office/officeart/2005/8/layout/venn2"/>
    <dgm:cxn modelId="{687CF280-0FB4-4333-9072-0EE9F99B3D32}" type="presParOf" srcId="{2F301100-AACB-42F7-B72D-9E1EBFE6A70E}" destId="{46583846-B6CC-47F9-8487-2EBCAF8E53E2}" srcOrd="0" destOrd="0" presId="urn:microsoft.com/office/officeart/2005/8/layout/venn2"/>
    <dgm:cxn modelId="{3BCD03FA-E254-4182-83D7-EB0F663C1B00}" type="presParOf" srcId="{2F301100-AACB-42F7-B72D-9E1EBFE6A70E}" destId="{2765F5C2-F162-4343-B7FA-B4CE26650137}" srcOrd="1" destOrd="0" presId="urn:microsoft.com/office/officeart/2005/8/layout/venn2"/>
    <dgm:cxn modelId="{3DA4655E-D51C-48F5-BC26-4D80C32A7974}" type="presParOf" srcId="{35240946-3D5E-45C7-A5FD-06DCA21F7611}" destId="{41670AF4-9E25-4780-9F61-0F686136BD7F}" srcOrd="2" destOrd="0" presId="urn:microsoft.com/office/officeart/2005/8/layout/venn2"/>
    <dgm:cxn modelId="{9F3AE35E-62DA-4E49-9A8B-02B7555E3A43}" type="presParOf" srcId="{41670AF4-9E25-4780-9F61-0F686136BD7F}" destId="{EE7CB58F-5E4B-415B-A3E4-2478D202EF1C}" srcOrd="0" destOrd="0" presId="urn:microsoft.com/office/officeart/2005/8/layout/venn2"/>
    <dgm:cxn modelId="{94CB952E-EC8F-4679-9F47-39874A502466}" type="presParOf" srcId="{41670AF4-9E25-4780-9F61-0F686136BD7F}" destId="{DC661BF0-3C9E-4AD6-899C-53CC6FA6A618}" srcOrd="1" destOrd="0" presId="urn:microsoft.com/office/officeart/2005/8/layout/venn2"/>
    <dgm:cxn modelId="{FA5AC588-D549-4D73-85FD-69EB6C8AD9CB}" type="presParOf" srcId="{35240946-3D5E-45C7-A5FD-06DCA21F7611}" destId="{76BC40CB-6E94-49E1-991D-F2D140A1E138}" srcOrd="3" destOrd="0" presId="urn:microsoft.com/office/officeart/2005/8/layout/venn2"/>
    <dgm:cxn modelId="{76CF9CF1-8370-4CE7-9459-8CB4824E8E85}" type="presParOf" srcId="{76BC40CB-6E94-49E1-991D-F2D140A1E138}" destId="{155B4E4A-D385-4A75-B0FF-A887154E6242}" srcOrd="0" destOrd="0" presId="urn:microsoft.com/office/officeart/2005/8/layout/venn2"/>
    <dgm:cxn modelId="{CBF80E33-178F-4F5F-B8CF-A91B0C5A8875}" type="presParOf" srcId="{76BC40CB-6E94-49E1-991D-F2D140A1E138}" destId="{591B8F7E-AF97-4AE5-A702-442F1F0018D0}" srcOrd="1" destOrd="0" presId="urn:microsoft.com/office/officeart/2005/8/layout/ven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548F5A1-28FE-4B8B-AD23-29841903CD9E}" type="doc">
      <dgm:prSet loTypeId="urn:microsoft.com/office/officeart/2005/8/layout/cycle5" loCatId="cycle" qsTypeId="urn:microsoft.com/office/officeart/2005/8/quickstyle/simple2" qsCatId="simple" csTypeId="urn:microsoft.com/office/officeart/2005/8/colors/colorful5" csCatId="colorful" phldr="1"/>
      <dgm:spPr/>
      <dgm:t>
        <a:bodyPr/>
        <a:lstStyle/>
        <a:p>
          <a:endParaRPr lang="es-CR"/>
        </a:p>
      </dgm:t>
    </dgm:pt>
    <dgm:pt modelId="{A2F2CB90-299F-46F1-A6AB-81CA18A06540}">
      <dgm:prSet phldrT="[Text]" custT="1"/>
      <dgm:spPr>
        <a:solidFill>
          <a:schemeClr val="accent1"/>
        </a:solidFill>
      </dgm:spPr>
      <dgm:t>
        <a:bodyPr/>
        <a:lstStyle/>
        <a:p>
          <a:pPr algn="l"/>
          <a:r>
            <a:rPr lang="es-US" sz="1800" noProof="0" dirty="0" smtClean="0"/>
            <a:t>Definición</a:t>
          </a:r>
          <a:endParaRPr lang="es-US" sz="1800" noProof="0" dirty="0"/>
        </a:p>
      </dgm:t>
    </dgm:pt>
    <dgm:pt modelId="{E8E95289-A681-4DA9-8784-14309A48E249}" type="parTrans" cxnId="{58DCAD5C-9CB9-4D81-A21A-E3BBE098DD97}">
      <dgm:prSet/>
      <dgm:spPr/>
      <dgm:t>
        <a:bodyPr/>
        <a:lstStyle/>
        <a:p>
          <a:pPr algn="l"/>
          <a:endParaRPr lang="es-CR"/>
        </a:p>
      </dgm:t>
    </dgm:pt>
    <dgm:pt modelId="{22B7D1D5-87D1-442A-B47A-7F4B3A90F95B}" type="sibTrans" cxnId="{58DCAD5C-9CB9-4D81-A21A-E3BBE098DD97}">
      <dgm:prSet/>
      <dgm:spPr/>
      <dgm:t>
        <a:bodyPr/>
        <a:lstStyle/>
        <a:p>
          <a:pPr algn="l"/>
          <a:endParaRPr lang="es-CR"/>
        </a:p>
      </dgm:t>
    </dgm:pt>
    <dgm:pt modelId="{B5E855C2-8757-44E5-8591-17EE77059D79}">
      <dgm:prSet phldrT="[Text]" custT="1"/>
      <dgm:spPr>
        <a:solidFill>
          <a:schemeClr val="accent1"/>
        </a:solidFill>
      </dgm:spPr>
      <dgm:t>
        <a:bodyPr/>
        <a:lstStyle/>
        <a:p>
          <a:pPr algn="l"/>
          <a:r>
            <a:rPr lang="es-US" sz="1800" noProof="0" dirty="0" smtClean="0"/>
            <a:t>Diseño</a:t>
          </a:r>
          <a:endParaRPr lang="es-US" sz="1800" noProof="0" dirty="0"/>
        </a:p>
      </dgm:t>
    </dgm:pt>
    <dgm:pt modelId="{01FB4A44-12C0-4CDE-B388-FDC78D10BDC5}" type="parTrans" cxnId="{FD0D4499-4B56-4F31-BBE8-C27EAF9803A6}">
      <dgm:prSet/>
      <dgm:spPr/>
      <dgm:t>
        <a:bodyPr/>
        <a:lstStyle/>
        <a:p>
          <a:pPr algn="l"/>
          <a:endParaRPr lang="es-CR"/>
        </a:p>
      </dgm:t>
    </dgm:pt>
    <dgm:pt modelId="{7E3EEC8E-485A-4760-9972-C0D1EDC59199}" type="sibTrans" cxnId="{FD0D4499-4B56-4F31-BBE8-C27EAF9803A6}">
      <dgm:prSet/>
      <dgm:spPr/>
      <dgm:t>
        <a:bodyPr/>
        <a:lstStyle/>
        <a:p>
          <a:pPr algn="l"/>
          <a:endParaRPr lang="es-CR"/>
        </a:p>
      </dgm:t>
    </dgm:pt>
    <dgm:pt modelId="{7EBB9A8B-0B17-49F5-A4EF-0684B1FCF778}">
      <dgm:prSet phldrT="[Text]" custT="1"/>
      <dgm:spPr>
        <a:solidFill>
          <a:schemeClr val="accent1"/>
        </a:solidFill>
      </dgm:spPr>
      <dgm:t>
        <a:bodyPr/>
        <a:lstStyle/>
        <a:p>
          <a:pPr algn="l"/>
          <a:r>
            <a:rPr lang="es-US" sz="1800" noProof="0" dirty="0" smtClean="0"/>
            <a:t>Desarrollo</a:t>
          </a:r>
          <a:endParaRPr lang="es-US" sz="1800" noProof="0" dirty="0"/>
        </a:p>
      </dgm:t>
    </dgm:pt>
    <dgm:pt modelId="{C6A50D8C-67F1-41BD-B9E1-FD9D7870DA5B}" type="parTrans" cxnId="{4C56A5A9-1895-4345-A7E8-13931AB8C94B}">
      <dgm:prSet/>
      <dgm:spPr/>
      <dgm:t>
        <a:bodyPr/>
        <a:lstStyle/>
        <a:p>
          <a:pPr algn="l"/>
          <a:endParaRPr lang="es-CR"/>
        </a:p>
      </dgm:t>
    </dgm:pt>
    <dgm:pt modelId="{582539D0-7457-428E-A55C-71E164AFDA8A}" type="sibTrans" cxnId="{4C56A5A9-1895-4345-A7E8-13931AB8C94B}">
      <dgm:prSet/>
      <dgm:spPr/>
      <dgm:t>
        <a:bodyPr/>
        <a:lstStyle/>
        <a:p>
          <a:pPr algn="l"/>
          <a:endParaRPr lang="es-CR"/>
        </a:p>
      </dgm:t>
    </dgm:pt>
    <dgm:pt modelId="{4389476A-E3BA-44D7-AF15-FD8500B46E42}">
      <dgm:prSet phldrT="[Text]" custT="1"/>
      <dgm:spPr>
        <a:solidFill>
          <a:schemeClr val="accent1"/>
        </a:solidFill>
      </dgm:spPr>
      <dgm:t>
        <a:bodyPr/>
        <a:lstStyle/>
        <a:p>
          <a:pPr algn="l"/>
          <a:r>
            <a:rPr lang="es-US" sz="1800" noProof="0" dirty="0" smtClean="0"/>
            <a:t>Implementación</a:t>
          </a:r>
          <a:endParaRPr lang="es-US" sz="1800" noProof="0" dirty="0"/>
        </a:p>
      </dgm:t>
    </dgm:pt>
    <dgm:pt modelId="{CDAE7FF2-4F45-46BE-A075-590295C44DC2}" type="parTrans" cxnId="{C596272C-3713-4E1D-856F-2B56F098CB63}">
      <dgm:prSet/>
      <dgm:spPr/>
      <dgm:t>
        <a:bodyPr/>
        <a:lstStyle/>
        <a:p>
          <a:pPr algn="l"/>
          <a:endParaRPr lang="es-CR"/>
        </a:p>
      </dgm:t>
    </dgm:pt>
    <dgm:pt modelId="{43883C55-F0B0-4310-AB84-5A050AC37809}" type="sibTrans" cxnId="{C596272C-3713-4E1D-856F-2B56F098CB63}">
      <dgm:prSet/>
      <dgm:spPr/>
      <dgm:t>
        <a:bodyPr/>
        <a:lstStyle/>
        <a:p>
          <a:pPr algn="l"/>
          <a:endParaRPr lang="es-CR"/>
        </a:p>
      </dgm:t>
    </dgm:pt>
    <dgm:pt modelId="{B8A64065-5692-45C1-AF65-C6BD28CB6521}">
      <dgm:prSet phldrT="[Text]" custT="1"/>
      <dgm:spPr>
        <a:solidFill>
          <a:schemeClr val="accent1"/>
        </a:solidFill>
      </dgm:spPr>
      <dgm:t>
        <a:bodyPr/>
        <a:lstStyle/>
        <a:p>
          <a:pPr algn="l"/>
          <a:r>
            <a:rPr lang="es-US" sz="1800" noProof="0" dirty="0" smtClean="0"/>
            <a:t>Operación</a:t>
          </a:r>
          <a:endParaRPr lang="es-US" sz="1800" noProof="0" dirty="0"/>
        </a:p>
      </dgm:t>
    </dgm:pt>
    <dgm:pt modelId="{E16E9F5E-906C-42C3-8890-FBDA3FF3CE30}" type="parTrans" cxnId="{3FFDE251-9AE5-4D11-86ED-D428BBB2D7CC}">
      <dgm:prSet/>
      <dgm:spPr/>
      <dgm:t>
        <a:bodyPr/>
        <a:lstStyle/>
        <a:p>
          <a:pPr algn="l"/>
          <a:endParaRPr lang="es-CR"/>
        </a:p>
      </dgm:t>
    </dgm:pt>
    <dgm:pt modelId="{21E344FB-B2BD-4DF9-A21A-71D970347D62}" type="sibTrans" cxnId="{3FFDE251-9AE5-4D11-86ED-D428BBB2D7CC}">
      <dgm:prSet/>
      <dgm:spPr/>
      <dgm:t>
        <a:bodyPr/>
        <a:lstStyle/>
        <a:p>
          <a:pPr algn="l"/>
          <a:endParaRPr lang="es-CR"/>
        </a:p>
      </dgm:t>
    </dgm:pt>
    <dgm:pt modelId="{02D4005B-D481-4BDB-86AB-EDAFF7B6DC21}" type="pres">
      <dgm:prSet presAssocID="{1548F5A1-28FE-4B8B-AD23-29841903CD9E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US"/>
        </a:p>
      </dgm:t>
    </dgm:pt>
    <dgm:pt modelId="{9D14C2EB-2620-40CD-ACA3-2B2AD8B2A450}" type="pres">
      <dgm:prSet presAssocID="{A2F2CB90-299F-46F1-A6AB-81CA18A06540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s-US"/>
        </a:p>
      </dgm:t>
    </dgm:pt>
    <dgm:pt modelId="{407E4409-E7BD-41F7-85EA-C5D559D4B270}" type="pres">
      <dgm:prSet presAssocID="{A2F2CB90-299F-46F1-A6AB-81CA18A06540}" presName="spNode" presStyleCnt="0"/>
      <dgm:spPr/>
    </dgm:pt>
    <dgm:pt modelId="{1B0A8868-04BD-4FBB-8715-8D61805B2A68}" type="pres">
      <dgm:prSet presAssocID="{22B7D1D5-87D1-442A-B47A-7F4B3A90F95B}" presName="sibTrans" presStyleLbl="sibTrans1D1" presStyleIdx="0" presStyleCnt="5"/>
      <dgm:spPr/>
      <dgm:t>
        <a:bodyPr/>
        <a:lstStyle/>
        <a:p>
          <a:endParaRPr lang="es-US"/>
        </a:p>
      </dgm:t>
    </dgm:pt>
    <dgm:pt modelId="{BCBDA25B-E6FC-4724-AF9E-6F336868CC70}" type="pres">
      <dgm:prSet presAssocID="{B5E855C2-8757-44E5-8591-17EE77059D79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s-US"/>
        </a:p>
      </dgm:t>
    </dgm:pt>
    <dgm:pt modelId="{E9F6540E-25AF-4E5F-B9B2-F3957E3485CF}" type="pres">
      <dgm:prSet presAssocID="{B5E855C2-8757-44E5-8591-17EE77059D79}" presName="spNode" presStyleCnt="0"/>
      <dgm:spPr/>
    </dgm:pt>
    <dgm:pt modelId="{ACCB07B8-A4F4-4116-B84F-F5832505EB9B}" type="pres">
      <dgm:prSet presAssocID="{7E3EEC8E-485A-4760-9972-C0D1EDC59199}" presName="sibTrans" presStyleLbl="sibTrans1D1" presStyleIdx="1" presStyleCnt="5"/>
      <dgm:spPr/>
      <dgm:t>
        <a:bodyPr/>
        <a:lstStyle/>
        <a:p>
          <a:endParaRPr lang="es-US"/>
        </a:p>
      </dgm:t>
    </dgm:pt>
    <dgm:pt modelId="{3D7BC8E4-7C89-4A72-AC6B-D6DC15AAFEF2}" type="pres">
      <dgm:prSet presAssocID="{7EBB9A8B-0B17-49F5-A4EF-0684B1FCF778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s-US"/>
        </a:p>
      </dgm:t>
    </dgm:pt>
    <dgm:pt modelId="{031D0F2F-4991-486C-A2BA-70A042FEAE14}" type="pres">
      <dgm:prSet presAssocID="{7EBB9A8B-0B17-49F5-A4EF-0684B1FCF778}" presName="spNode" presStyleCnt="0"/>
      <dgm:spPr/>
    </dgm:pt>
    <dgm:pt modelId="{BE2C4186-9641-4222-AEFD-8A4B3911C362}" type="pres">
      <dgm:prSet presAssocID="{582539D0-7457-428E-A55C-71E164AFDA8A}" presName="sibTrans" presStyleLbl="sibTrans1D1" presStyleIdx="2" presStyleCnt="5"/>
      <dgm:spPr/>
      <dgm:t>
        <a:bodyPr/>
        <a:lstStyle/>
        <a:p>
          <a:endParaRPr lang="es-US"/>
        </a:p>
      </dgm:t>
    </dgm:pt>
    <dgm:pt modelId="{AFC9FC25-A18B-429B-90CA-BE8C95E722EF}" type="pres">
      <dgm:prSet presAssocID="{4389476A-E3BA-44D7-AF15-FD8500B46E42}" presName="node" presStyleLbl="node1" presStyleIdx="3" presStyleCnt="5" custScaleX="140012">
        <dgm:presLayoutVars>
          <dgm:bulletEnabled val="1"/>
        </dgm:presLayoutVars>
      </dgm:prSet>
      <dgm:spPr/>
      <dgm:t>
        <a:bodyPr/>
        <a:lstStyle/>
        <a:p>
          <a:endParaRPr lang="es-US"/>
        </a:p>
      </dgm:t>
    </dgm:pt>
    <dgm:pt modelId="{2269682C-D902-483B-9ECD-60C90338133B}" type="pres">
      <dgm:prSet presAssocID="{4389476A-E3BA-44D7-AF15-FD8500B46E42}" presName="spNode" presStyleCnt="0"/>
      <dgm:spPr/>
    </dgm:pt>
    <dgm:pt modelId="{5B9594F9-FA50-486E-9684-D1F74DF00850}" type="pres">
      <dgm:prSet presAssocID="{43883C55-F0B0-4310-AB84-5A050AC37809}" presName="sibTrans" presStyleLbl="sibTrans1D1" presStyleIdx="3" presStyleCnt="5"/>
      <dgm:spPr/>
      <dgm:t>
        <a:bodyPr/>
        <a:lstStyle/>
        <a:p>
          <a:endParaRPr lang="es-US"/>
        </a:p>
      </dgm:t>
    </dgm:pt>
    <dgm:pt modelId="{DE30BC40-7032-4586-80FA-E859190D0955}" type="pres">
      <dgm:prSet presAssocID="{B8A64065-5692-45C1-AF65-C6BD28CB6521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s-US"/>
        </a:p>
      </dgm:t>
    </dgm:pt>
    <dgm:pt modelId="{95A74783-6D53-4608-9A82-A3B9F2B66D79}" type="pres">
      <dgm:prSet presAssocID="{B8A64065-5692-45C1-AF65-C6BD28CB6521}" presName="spNode" presStyleCnt="0"/>
      <dgm:spPr/>
    </dgm:pt>
    <dgm:pt modelId="{7D3F1355-CA58-429F-BF21-D034941454B4}" type="pres">
      <dgm:prSet presAssocID="{21E344FB-B2BD-4DF9-A21A-71D970347D62}" presName="sibTrans" presStyleLbl="sibTrans1D1" presStyleIdx="4" presStyleCnt="5"/>
      <dgm:spPr/>
      <dgm:t>
        <a:bodyPr/>
        <a:lstStyle/>
        <a:p>
          <a:endParaRPr lang="es-US"/>
        </a:p>
      </dgm:t>
    </dgm:pt>
  </dgm:ptLst>
  <dgm:cxnLst>
    <dgm:cxn modelId="{4C56A5A9-1895-4345-A7E8-13931AB8C94B}" srcId="{1548F5A1-28FE-4B8B-AD23-29841903CD9E}" destId="{7EBB9A8B-0B17-49F5-A4EF-0684B1FCF778}" srcOrd="2" destOrd="0" parTransId="{C6A50D8C-67F1-41BD-B9E1-FD9D7870DA5B}" sibTransId="{582539D0-7457-428E-A55C-71E164AFDA8A}"/>
    <dgm:cxn modelId="{3FFDE251-9AE5-4D11-86ED-D428BBB2D7CC}" srcId="{1548F5A1-28FE-4B8B-AD23-29841903CD9E}" destId="{B8A64065-5692-45C1-AF65-C6BD28CB6521}" srcOrd="4" destOrd="0" parTransId="{E16E9F5E-906C-42C3-8890-FBDA3FF3CE30}" sibTransId="{21E344FB-B2BD-4DF9-A21A-71D970347D62}"/>
    <dgm:cxn modelId="{58DCAD5C-9CB9-4D81-A21A-E3BBE098DD97}" srcId="{1548F5A1-28FE-4B8B-AD23-29841903CD9E}" destId="{A2F2CB90-299F-46F1-A6AB-81CA18A06540}" srcOrd="0" destOrd="0" parTransId="{E8E95289-A681-4DA9-8784-14309A48E249}" sibTransId="{22B7D1D5-87D1-442A-B47A-7F4B3A90F95B}"/>
    <dgm:cxn modelId="{0B35DDF1-2832-4FD8-8845-8000D1C822EC}" type="presOf" srcId="{4389476A-E3BA-44D7-AF15-FD8500B46E42}" destId="{AFC9FC25-A18B-429B-90CA-BE8C95E722EF}" srcOrd="0" destOrd="0" presId="urn:microsoft.com/office/officeart/2005/8/layout/cycle5"/>
    <dgm:cxn modelId="{A3C755AD-C4B2-4BB0-96B8-4232EC677E88}" type="presOf" srcId="{A2F2CB90-299F-46F1-A6AB-81CA18A06540}" destId="{9D14C2EB-2620-40CD-ACA3-2B2AD8B2A450}" srcOrd="0" destOrd="0" presId="urn:microsoft.com/office/officeart/2005/8/layout/cycle5"/>
    <dgm:cxn modelId="{2BA837E0-AA71-47F2-83A7-CF3D2E9C4B81}" type="presOf" srcId="{22B7D1D5-87D1-442A-B47A-7F4B3A90F95B}" destId="{1B0A8868-04BD-4FBB-8715-8D61805B2A68}" srcOrd="0" destOrd="0" presId="urn:microsoft.com/office/officeart/2005/8/layout/cycle5"/>
    <dgm:cxn modelId="{D8E0FF6D-488D-4EF0-AD6E-ACA2620270EC}" type="presOf" srcId="{B5E855C2-8757-44E5-8591-17EE77059D79}" destId="{BCBDA25B-E6FC-4724-AF9E-6F336868CC70}" srcOrd="0" destOrd="0" presId="urn:microsoft.com/office/officeart/2005/8/layout/cycle5"/>
    <dgm:cxn modelId="{00335039-FB44-4867-AAF4-0325C1B50EDA}" type="presOf" srcId="{43883C55-F0B0-4310-AB84-5A050AC37809}" destId="{5B9594F9-FA50-486E-9684-D1F74DF00850}" srcOrd="0" destOrd="0" presId="urn:microsoft.com/office/officeart/2005/8/layout/cycle5"/>
    <dgm:cxn modelId="{DF4E26C2-D1D4-487E-9F6A-6671D71DFB10}" type="presOf" srcId="{7EBB9A8B-0B17-49F5-A4EF-0684B1FCF778}" destId="{3D7BC8E4-7C89-4A72-AC6B-D6DC15AAFEF2}" srcOrd="0" destOrd="0" presId="urn:microsoft.com/office/officeart/2005/8/layout/cycle5"/>
    <dgm:cxn modelId="{C596272C-3713-4E1D-856F-2B56F098CB63}" srcId="{1548F5A1-28FE-4B8B-AD23-29841903CD9E}" destId="{4389476A-E3BA-44D7-AF15-FD8500B46E42}" srcOrd="3" destOrd="0" parTransId="{CDAE7FF2-4F45-46BE-A075-590295C44DC2}" sibTransId="{43883C55-F0B0-4310-AB84-5A050AC37809}"/>
    <dgm:cxn modelId="{0FB58720-C13C-46DB-A276-91921A5FA00E}" type="presOf" srcId="{582539D0-7457-428E-A55C-71E164AFDA8A}" destId="{BE2C4186-9641-4222-AEFD-8A4B3911C362}" srcOrd="0" destOrd="0" presId="urn:microsoft.com/office/officeart/2005/8/layout/cycle5"/>
    <dgm:cxn modelId="{FD0D4499-4B56-4F31-BBE8-C27EAF9803A6}" srcId="{1548F5A1-28FE-4B8B-AD23-29841903CD9E}" destId="{B5E855C2-8757-44E5-8591-17EE77059D79}" srcOrd="1" destOrd="0" parTransId="{01FB4A44-12C0-4CDE-B388-FDC78D10BDC5}" sibTransId="{7E3EEC8E-485A-4760-9972-C0D1EDC59199}"/>
    <dgm:cxn modelId="{D94314CA-FF26-4506-BEBF-147F6D84E335}" type="presOf" srcId="{7E3EEC8E-485A-4760-9972-C0D1EDC59199}" destId="{ACCB07B8-A4F4-4116-B84F-F5832505EB9B}" srcOrd="0" destOrd="0" presId="urn:microsoft.com/office/officeart/2005/8/layout/cycle5"/>
    <dgm:cxn modelId="{C8917173-26A5-4262-ACAF-D032304B0903}" type="presOf" srcId="{1548F5A1-28FE-4B8B-AD23-29841903CD9E}" destId="{02D4005B-D481-4BDB-86AB-EDAFF7B6DC21}" srcOrd="0" destOrd="0" presId="urn:microsoft.com/office/officeart/2005/8/layout/cycle5"/>
    <dgm:cxn modelId="{4BA60B4F-0A41-49CA-9F6F-3B93A17D34BE}" type="presOf" srcId="{B8A64065-5692-45C1-AF65-C6BD28CB6521}" destId="{DE30BC40-7032-4586-80FA-E859190D0955}" srcOrd="0" destOrd="0" presId="urn:microsoft.com/office/officeart/2005/8/layout/cycle5"/>
    <dgm:cxn modelId="{A5DF3D71-D8D7-411F-B3FE-03AB4F13A880}" type="presOf" srcId="{21E344FB-B2BD-4DF9-A21A-71D970347D62}" destId="{7D3F1355-CA58-429F-BF21-D034941454B4}" srcOrd="0" destOrd="0" presId="urn:microsoft.com/office/officeart/2005/8/layout/cycle5"/>
    <dgm:cxn modelId="{30EC87AC-F250-48F5-88DD-4AEE35D740B7}" type="presParOf" srcId="{02D4005B-D481-4BDB-86AB-EDAFF7B6DC21}" destId="{9D14C2EB-2620-40CD-ACA3-2B2AD8B2A450}" srcOrd="0" destOrd="0" presId="urn:microsoft.com/office/officeart/2005/8/layout/cycle5"/>
    <dgm:cxn modelId="{E431360B-C647-4AA1-83D4-7E80417EBBFA}" type="presParOf" srcId="{02D4005B-D481-4BDB-86AB-EDAFF7B6DC21}" destId="{407E4409-E7BD-41F7-85EA-C5D559D4B270}" srcOrd="1" destOrd="0" presId="urn:microsoft.com/office/officeart/2005/8/layout/cycle5"/>
    <dgm:cxn modelId="{878FDFB4-6C95-4BBF-B106-352BD3DC46EA}" type="presParOf" srcId="{02D4005B-D481-4BDB-86AB-EDAFF7B6DC21}" destId="{1B0A8868-04BD-4FBB-8715-8D61805B2A68}" srcOrd="2" destOrd="0" presId="urn:microsoft.com/office/officeart/2005/8/layout/cycle5"/>
    <dgm:cxn modelId="{35852865-DCA0-40A3-961F-19097E73D5E2}" type="presParOf" srcId="{02D4005B-D481-4BDB-86AB-EDAFF7B6DC21}" destId="{BCBDA25B-E6FC-4724-AF9E-6F336868CC70}" srcOrd="3" destOrd="0" presId="urn:microsoft.com/office/officeart/2005/8/layout/cycle5"/>
    <dgm:cxn modelId="{E7E5C320-B303-4629-B6E1-B4CCD45AD116}" type="presParOf" srcId="{02D4005B-D481-4BDB-86AB-EDAFF7B6DC21}" destId="{E9F6540E-25AF-4E5F-B9B2-F3957E3485CF}" srcOrd="4" destOrd="0" presId="urn:microsoft.com/office/officeart/2005/8/layout/cycle5"/>
    <dgm:cxn modelId="{8F10DF6E-0176-4A28-993A-5BB3B24878E6}" type="presParOf" srcId="{02D4005B-D481-4BDB-86AB-EDAFF7B6DC21}" destId="{ACCB07B8-A4F4-4116-B84F-F5832505EB9B}" srcOrd="5" destOrd="0" presId="urn:microsoft.com/office/officeart/2005/8/layout/cycle5"/>
    <dgm:cxn modelId="{469D8EF8-6015-4534-8247-6E8380221646}" type="presParOf" srcId="{02D4005B-D481-4BDB-86AB-EDAFF7B6DC21}" destId="{3D7BC8E4-7C89-4A72-AC6B-D6DC15AAFEF2}" srcOrd="6" destOrd="0" presId="urn:microsoft.com/office/officeart/2005/8/layout/cycle5"/>
    <dgm:cxn modelId="{BE4B162A-6315-4B2B-8A99-FEDE075EDB3F}" type="presParOf" srcId="{02D4005B-D481-4BDB-86AB-EDAFF7B6DC21}" destId="{031D0F2F-4991-486C-A2BA-70A042FEAE14}" srcOrd="7" destOrd="0" presId="urn:microsoft.com/office/officeart/2005/8/layout/cycle5"/>
    <dgm:cxn modelId="{BB0D4B1A-1F17-4BE3-9797-5D60380316B0}" type="presParOf" srcId="{02D4005B-D481-4BDB-86AB-EDAFF7B6DC21}" destId="{BE2C4186-9641-4222-AEFD-8A4B3911C362}" srcOrd="8" destOrd="0" presId="urn:microsoft.com/office/officeart/2005/8/layout/cycle5"/>
    <dgm:cxn modelId="{05602811-88DF-43CA-AF7F-500D26EEE931}" type="presParOf" srcId="{02D4005B-D481-4BDB-86AB-EDAFF7B6DC21}" destId="{AFC9FC25-A18B-429B-90CA-BE8C95E722EF}" srcOrd="9" destOrd="0" presId="urn:microsoft.com/office/officeart/2005/8/layout/cycle5"/>
    <dgm:cxn modelId="{CA2DECFD-A093-4F6B-BDF8-C7244E5B23E8}" type="presParOf" srcId="{02D4005B-D481-4BDB-86AB-EDAFF7B6DC21}" destId="{2269682C-D902-483B-9ECD-60C90338133B}" srcOrd="10" destOrd="0" presId="urn:microsoft.com/office/officeart/2005/8/layout/cycle5"/>
    <dgm:cxn modelId="{A33BBE8C-B56E-451A-A877-57DA0F4B533F}" type="presParOf" srcId="{02D4005B-D481-4BDB-86AB-EDAFF7B6DC21}" destId="{5B9594F9-FA50-486E-9684-D1F74DF00850}" srcOrd="11" destOrd="0" presId="urn:microsoft.com/office/officeart/2005/8/layout/cycle5"/>
    <dgm:cxn modelId="{9FF859CE-0469-422F-9F05-D0FB022FA8BA}" type="presParOf" srcId="{02D4005B-D481-4BDB-86AB-EDAFF7B6DC21}" destId="{DE30BC40-7032-4586-80FA-E859190D0955}" srcOrd="12" destOrd="0" presId="urn:microsoft.com/office/officeart/2005/8/layout/cycle5"/>
    <dgm:cxn modelId="{DF776B40-3E98-4CF6-8F99-0D20EB5A0F1C}" type="presParOf" srcId="{02D4005B-D481-4BDB-86AB-EDAFF7B6DC21}" destId="{95A74783-6D53-4608-9A82-A3B9F2B66D79}" srcOrd="13" destOrd="0" presId="urn:microsoft.com/office/officeart/2005/8/layout/cycle5"/>
    <dgm:cxn modelId="{892AB6E2-60A4-4512-99EC-63E8168065C4}" type="presParOf" srcId="{02D4005B-D481-4BDB-86AB-EDAFF7B6DC21}" destId="{7D3F1355-CA58-429F-BF21-D034941454B4}" srcOrd="14" destOrd="0" presId="urn:microsoft.com/office/officeart/2005/8/layout/cycle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7378FB0-1070-4053-A7B2-D2C2DAB50E44}" type="doc">
      <dgm:prSet loTypeId="urn:microsoft.com/office/officeart/2005/8/layout/radial6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R"/>
        </a:p>
      </dgm:t>
    </dgm:pt>
    <dgm:pt modelId="{81EBBE3C-34E5-4CF1-ACC1-A6C4B35020A5}">
      <dgm:prSet phldrT="[Texto]" custT="1"/>
      <dgm:spPr/>
      <dgm:t>
        <a:bodyPr lIns="36000" tIns="36000" rIns="36000" bIns="36000"/>
        <a:lstStyle/>
        <a:p>
          <a:r>
            <a:rPr lang="es-CR" sz="1800" b="0" dirty="0" smtClean="0">
              <a:effectLst/>
            </a:rPr>
            <a:t>1. Gestión de Cambio (Físico a digital)</a:t>
          </a:r>
          <a:endParaRPr lang="es-CR" sz="1800" b="0" dirty="0">
            <a:effectLst/>
          </a:endParaRPr>
        </a:p>
      </dgm:t>
    </dgm:pt>
    <dgm:pt modelId="{4DEF1473-804F-4B36-B2D5-8051C79EFF9C}" type="parTrans" cxnId="{6C9095B0-B578-4E27-830C-45EB1BC1036B}">
      <dgm:prSet/>
      <dgm:spPr/>
      <dgm:t>
        <a:bodyPr/>
        <a:lstStyle/>
        <a:p>
          <a:endParaRPr lang="es-CR" sz="1400" b="1"/>
        </a:p>
      </dgm:t>
    </dgm:pt>
    <dgm:pt modelId="{6E61FD5C-5836-4790-A8AD-22E743BF9130}" type="sibTrans" cxnId="{6C9095B0-B578-4E27-830C-45EB1BC1036B}">
      <dgm:prSet custT="1"/>
      <dgm:spPr/>
      <dgm:t>
        <a:bodyPr/>
        <a:lstStyle/>
        <a:p>
          <a:endParaRPr lang="es-US"/>
        </a:p>
      </dgm:t>
    </dgm:pt>
    <dgm:pt modelId="{215A5450-8B5E-467E-824B-0127D664A527}">
      <dgm:prSet phldrT="[Texto]" custT="1"/>
      <dgm:spPr/>
      <dgm:t>
        <a:bodyPr/>
        <a:lstStyle/>
        <a:p>
          <a:r>
            <a:rPr lang="es-CR" sz="1800" b="0" dirty="0" smtClean="0">
              <a:effectLst/>
            </a:rPr>
            <a:t>2. Arquitectura de la Información</a:t>
          </a:r>
          <a:endParaRPr lang="es-CR" sz="1800" b="0" dirty="0">
            <a:effectLst/>
          </a:endParaRPr>
        </a:p>
      </dgm:t>
    </dgm:pt>
    <dgm:pt modelId="{8DACCDA7-41B0-40AE-8A83-E7E2A751DB4F}" type="parTrans" cxnId="{B56DE60A-AEB9-4491-B59A-223286B72B0A}">
      <dgm:prSet/>
      <dgm:spPr/>
      <dgm:t>
        <a:bodyPr/>
        <a:lstStyle/>
        <a:p>
          <a:endParaRPr lang="es-CR" sz="1400" b="1"/>
        </a:p>
      </dgm:t>
    </dgm:pt>
    <dgm:pt modelId="{6FA915C4-69CD-4BA6-9AF2-55DAF7427391}" type="sibTrans" cxnId="{B56DE60A-AEB9-4491-B59A-223286B72B0A}">
      <dgm:prSet custT="1"/>
      <dgm:spPr/>
      <dgm:t>
        <a:bodyPr/>
        <a:lstStyle/>
        <a:p>
          <a:endParaRPr lang="es-CR" sz="12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FF738839-EEB3-47AF-943F-3EDE399E2A49}">
      <dgm:prSet phldrT="[Texto]" custT="1"/>
      <dgm:spPr/>
      <dgm:t>
        <a:bodyPr/>
        <a:lstStyle/>
        <a:p>
          <a:r>
            <a:rPr lang="es-CR" sz="1800" b="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3. Arquitectura de la Infraestructura</a:t>
          </a:r>
          <a:endParaRPr lang="es-CR" sz="1800" b="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CFFB572A-1CE7-4B31-9BF6-C8AB3A8F2979}" type="parTrans" cxnId="{D1F40E11-F73A-4684-8324-0F262412F38E}">
      <dgm:prSet/>
      <dgm:spPr/>
      <dgm:t>
        <a:bodyPr/>
        <a:lstStyle/>
        <a:p>
          <a:endParaRPr lang="es-CR" sz="1400" b="1"/>
        </a:p>
      </dgm:t>
    </dgm:pt>
    <dgm:pt modelId="{721A71E1-1115-45AD-ABE5-A10ADE54503F}" type="sibTrans" cxnId="{D1F40E11-F73A-4684-8324-0F262412F38E}">
      <dgm:prSet custT="1"/>
      <dgm:spPr/>
      <dgm:t>
        <a:bodyPr/>
        <a:lstStyle/>
        <a:p>
          <a:endParaRPr lang="es-CR" sz="300" b="1"/>
        </a:p>
      </dgm:t>
    </dgm:pt>
    <dgm:pt modelId="{FCCDF932-427F-4ADF-BD7C-D2D0C7139220}">
      <dgm:prSet phldrT="[Texto]" custT="1"/>
      <dgm:spPr/>
      <dgm:t>
        <a:bodyPr/>
        <a:lstStyle/>
        <a:p>
          <a:r>
            <a:rPr lang="es-CR" sz="1800" b="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4. Diseño de la Solución</a:t>
          </a:r>
          <a:endParaRPr lang="es-CR" sz="1800" b="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43195FD1-04A7-4C7E-B867-2BE5D0D203F3}" type="parTrans" cxnId="{57BD8C4B-95E6-423D-96E0-777D0AAA00D9}">
      <dgm:prSet/>
      <dgm:spPr/>
      <dgm:t>
        <a:bodyPr/>
        <a:lstStyle/>
        <a:p>
          <a:endParaRPr lang="es-CR" sz="1400" b="1"/>
        </a:p>
      </dgm:t>
    </dgm:pt>
    <dgm:pt modelId="{DC03916B-C9D8-45CB-A80A-553B54370BF7}" type="sibTrans" cxnId="{57BD8C4B-95E6-423D-96E0-777D0AAA00D9}">
      <dgm:prSet custT="1"/>
      <dgm:spPr/>
      <dgm:t>
        <a:bodyPr/>
        <a:lstStyle/>
        <a:p>
          <a:endParaRPr lang="es-CR" sz="300" b="1"/>
        </a:p>
      </dgm:t>
    </dgm:pt>
    <dgm:pt modelId="{C623A729-3CCD-4956-BB79-93DFC1BB75CC}">
      <dgm:prSet phldrT="[Texto]" custT="1"/>
      <dgm:spPr/>
      <dgm:t>
        <a:bodyPr/>
        <a:lstStyle/>
        <a:p>
          <a:r>
            <a:rPr lang="es-CR" sz="1800" b="0" dirty="0" smtClean="0">
              <a:effectLst/>
            </a:rPr>
            <a:t>5. Implementación y puesta en marcha</a:t>
          </a:r>
          <a:endParaRPr lang="es-CR" sz="1800" b="0" dirty="0">
            <a:effectLst/>
          </a:endParaRPr>
        </a:p>
      </dgm:t>
    </dgm:pt>
    <dgm:pt modelId="{D2368D69-CE4C-42F8-8627-1525B6C4CB17}" type="parTrans" cxnId="{FC75BC12-E4B5-496D-B568-92CCBBE60AF9}">
      <dgm:prSet/>
      <dgm:spPr/>
      <dgm:t>
        <a:bodyPr/>
        <a:lstStyle/>
        <a:p>
          <a:endParaRPr lang="es-CR" sz="1400" b="1"/>
        </a:p>
      </dgm:t>
    </dgm:pt>
    <dgm:pt modelId="{111208E8-35D8-4C54-AE18-65E3D39BD864}" type="sibTrans" cxnId="{FC75BC12-E4B5-496D-B568-92CCBBE60AF9}">
      <dgm:prSet custT="1"/>
      <dgm:spPr/>
      <dgm:t>
        <a:bodyPr/>
        <a:lstStyle/>
        <a:p>
          <a:endParaRPr lang="es-CR" sz="300" b="1"/>
        </a:p>
      </dgm:t>
    </dgm:pt>
    <dgm:pt modelId="{8ABF5BAC-50DE-4026-A97E-72FF4FD31C20}">
      <dgm:prSet phldrT="[Texto]" custT="1"/>
      <dgm:spPr/>
      <dgm:t>
        <a:bodyPr lIns="36000" tIns="36000" rIns="36000" bIns="36000"/>
        <a:lstStyle/>
        <a:p>
          <a:r>
            <a:rPr lang="es-CR" sz="14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</a:t>
          </a:r>
          <a:r>
            <a:rPr lang="es-CR" sz="4000" b="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ECM</a:t>
          </a:r>
          <a:endParaRPr lang="es-CR" sz="4000" b="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0EF7F4A3-F460-4C18-95A5-98D383EDB8EC}" type="parTrans" cxnId="{5C3462A6-BFC1-4BD9-B074-84EAF5230510}">
      <dgm:prSet/>
      <dgm:spPr/>
      <dgm:t>
        <a:bodyPr/>
        <a:lstStyle/>
        <a:p>
          <a:endParaRPr lang="es-CR"/>
        </a:p>
      </dgm:t>
    </dgm:pt>
    <dgm:pt modelId="{A086E9AD-DD16-434D-B262-5CC51870BCA9}" type="sibTrans" cxnId="{5C3462A6-BFC1-4BD9-B074-84EAF5230510}">
      <dgm:prSet/>
      <dgm:spPr/>
      <dgm:t>
        <a:bodyPr/>
        <a:lstStyle/>
        <a:p>
          <a:endParaRPr lang="es-CR"/>
        </a:p>
      </dgm:t>
    </dgm:pt>
    <dgm:pt modelId="{8707B6EA-5286-4731-B43D-303121B4AEAD}" type="pres">
      <dgm:prSet presAssocID="{07378FB0-1070-4053-A7B2-D2C2DAB50E44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s-CR"/>
        </a:p>
      </dgm:t>
    </dgm:pt>
    <dgm:pt modelId="{083A1129-F57D-4ACC-9806-A4277B72CECE}" type="pres">
      <dgm:prSet presAssocID="{8ABF5BAC-50DE-4026-A97E-72FF4FD31C20}" presName="centerShape" presStyleLbl="node0" presStyleIdx="0" presStyleCnt="1"/>
      <dgm:spPr/>
      <dgm:t>
        <a:bodyPr/>
        <a:lstStyle/>
        <a:p>
          <a:endParaRPr lang="es-CR"/>
        </a:p>
      </dgm:t>
    </dgm:pt>
    <dgm:pt modelId="{D9B90EFE-8746-4EF6-A76F-5B9CDE5E3CF2}" type="pres">
      <dgm:prSet presAssocID="{81EBBE3C-34E5-4CF1-ACC1-A6C4B35020A5}" presName="node" presStyleLbl="node1" presStyleIdx="0" presStyleCnt="5" custScaleX="121954" custScaleY="121954">
        <dgm:presLayoutVars>
          <dgm:bulletEnabled val="1"/>
        </dgm:presLayoutVars>
      </dgm:prSet>
      <dgm:spPr/>
      <dgm:t>
        <a:bodyPr/>
        <a:lstStyle/>
        <a:p>
          <a:endParaRPr lang="es-CR"/>
        </a:p>
      </dgm:t>
    </dgm:pt>
    <dgm:pt modelId="{DF4D60A1-2156-4287-B5FE-770F0D668C5A}" type="pres">
      <dgm:prSet presAssocID="{81EBBE3C-34E5-4CF1-ACC1-A6C4B35020A5}" presName="dummy" presStyleCnt="0"/>
      <dgm:spPr/>
      <dgm:t>
        <a:bodyPr/>
        <a:lstStyle/>
        <a:p>
          <a:endParaRPr lang="es-CR"/>
        </a:p>
      </dgm:t>
    </dgm:pt>
    <dgm:pt modelId="{159C4049-B18D-46E6-9DDC-E0D41A8F3355}" type="pres">
      <dgm:prSet presAssocID="{6E61FD5C-5836-4790-A8AD-22E743BF9130}" presName="sibTrans" presStyleLbl="sibTrans2D1" presStyleIdx="0" presStyleCnt="5"/>
      <dgm:spPr/>
      <dgm:t>
        <a:bodyPr/>
        <a:lstStyle/>
        <a:p>
          <a:endParaRPr lang="es-CR"/>
        </a:p>
      </dgm:t>
    </dgm:pt>
    <dgm:pt modelId="{6F53AB07-62BA-4DD8-B67A-2C2C77C3C5E7}" type="pres">
      <dgm:prSet presAssocID="{215A5450-8B5E-467E-824B-0127D664A527}" presName="node" presStyleLbl="node1" presStyleIdx="1" presStyleCnt="5" custScaleX="121954" custScaleY="121954">
        <dgm:presLayoutVars>
          <dgm:bulletEnabled val="1"/>
        </dgm:presLayoutVars>
      </dgm:prSet>
      <dgm:spPr/>
      <dgm:t>
        <a:bodyPr/>
        <a:lstStyle/>
        <a:p>
          <a:endParaRPr lang="es-CR"/>
        </a:p>
      </dgm:t>
    </dgm:pt>
    <dgm:pt modelId="{F3E51772-44B0-4E0A-A0A0-44A14D347FF3}" type="pres">
      <dgm:prSet presAssocID="{215A5450-8B5E-467E-824B-0127D664A527}" presName="dummy" presStyleCnt="0"/>
      <dgm:spPr/>
      <dgm:t>
        <a:bodyPr/>
        <a:lstStyle/>
        <a:p>
          <a:endParaRPr lang="es-CR"/>
        </a:p>
      </dgm:t>
    </dgm:pt>
    <dgm:pt modelId="{C20BBDC7-CB6D-4585-A356-3F21F3D4AA08}" type="pres">
      <dgm:prSet presAssocID="{6FA915C4-69CD-4BA6-9AF2-55DAF7427391}" presName="sibTrans" presStyleLbl="sibTrans2D1" presStyleIdx="1" presStyleCnt="5"/>
      <dgm:spPr/>
      <dgm:t>
        <a:bodyPr/>
        <a:lstStyle/>
        <a:p>
          <a:endParaRPr lang="es-CR"/>
        </a:p>
      </dgm:t>
    </dgm:pt>
    <dgm:pt modelId="{01EFFEB1-C0FD-44E2-9964-A8D7371226D8}" type="pres">
      <dgm:prSet presAssocID="{FF738839-EEB3-47AF-943F-3EDE399E2A49}" presName="node" presStyleLbl="node1" presStyleIdx="2" presStyleCnt="5" custScaleX="121954" custScaleY="121954">
        <dgm:presLayoutVars>
          <dgm:bulletEnabled val="1"/>
        </dgm:presLayoutVars>
      </dgm:prSet>
      <dgm:spPr/>
      <dgm:t>
        <a:bodyPr/>
        <a:lstStyle/>
        <a:p>
          <a:endParaRPr lang="es-CR"/>
        </a:p>
      </dgm:t>
    </dgm:pt>
    <dgm:pt modelId="{76EFA1D7-91D3-4731-AC07-F8950392BE45}" type="pres">
      <dgm:prSet presAssocID="{FF738839-EEB3-47AF-943F-3EDE399E2A49}" presName="dummy" presStyleCnt="0"/>
      <dgm:spPr/>
      <dgm:t>
        <a:bodyPr/>
        <a:lstStyle/>
        <a:p>
          <a:endParaRPr lang="es-CR"/>
        </a:p>
      </dgm:t>
    </dgm:pt>
    <dgm:pt modelId="{1C036797-DE01-4FF5-9BE5-6010E5858A44}" type="pres">
      <dgm:prSet presAssocID="{721A71E1-1115-45AD-ABE5-A10ADE54503F}" presName="sibTrans" presStyleLbl="sibTrans2D1" presStyleIdx="2" presStyleCnt="5"/>
      <dgm:spPr/>
      <dgm:t>
        <a:bodyPr/>
        <a:lstStyle/>
        <a:p>
          <a:endParaRPr lang="es-CR"/>
        </a:p>
      </dgm:t>
    </dgm:pt>
    <dgm:pt modelId="{40CFF88C-973B-458F-BFBE-D3F08ACE5DD7}" type="pres">
      <dgm:prSet presAssocID="{FCCDF932-427F-4ADF-BD7C-D2D0C7139220}" presName="node" presStyleLbl="node1" presStyleIdx="3" presStyleCnt="5" custScaleX="121954" custScaleY="121954">
        <dgm:presLayoutVars>
          <dgm:bulletEnabled val="1"/>
        </dgm:presLayoutVars>
      </dgm:prSet>
      <dgm:spPr/>
      <dgm:t>
        <a:bodyPr/>
        <a:lstStyle/>
        <a:p>
          <a:endParaRPr lang="es-CR"/>
        </a:p>
      </dgm:t>
    </dgm:pt>
    <dgm:pt modelId="{532842CF-0D12-43B2-9133-A86A4003D24F}" type="pres">
      <dgm:prSet presAssocID="{FCCDF932-427F-4ADF-BD7C-D2D0C7139220}" presName="dummy" presStyleCnt="0"/>
      <dgm:spPr/>
      <dgm:t>
        <a:bodyPr/>
        <a:lstStyle/>
        <a:p>
          <a:endParaRPr lang="es-CR"/>
        </a:p>
      </dgm:t>
    </dgm:pt>
    <dgm:pt modelId="{9E9891F2-913F-4567-A63C-01FED1851F21}" type="pres">
      <dgm:prSet presAssocID="{DC03916B-C9D8-45CB-A80A-553B54370BF7}" presName="sibTrans" presStyleLbl="sibTrans2D1" presStyleIdx="3" presStyleCnt="5"/>
      <dgm:spPr/>
      <dgm:t>
        <a:bodyPr/>
        <a:lstStyle/>
        <a:p>
          <a:endParaRPr lang="es-CR"/>
        </a:p>
      </dgm:t>
    </dgm:pt>
    <dgm:pt modelId="{A466586F-F046-4C80-B526-33BE2447A6F8}" type="pres">
      <dgm:prSet presAssocID="{C623A729-3CCD-4956-BB79-93DFC1BB75CC}" presName="node" presStyleLbl="node1" presStyleIdx="4" presStyleCnt="5" custScaleX="121954" custScaleY="121954">
        <dgm:presLayoutVars>
          <dgm:bulletEnabled val="1"/>
        </dgm:presLayoutVars>
      </dgm:prSet>
      <dgm:spPr/>
      <dgm:t>
        <a:bodyPr/>
        <a:lstStyle/>
        <a:p>
          <a:endParaRPr lang="es-CR"/>
        </a:p>
      </dgm:t>
    </dgm:pt>
    <dgm:pt modelId="{5CDCBFC3-B458-4974-8048-CA85E4DB5455}" type="pres">
      <dgm:prSet presAssocID="{C623A729-3CCD-4956-BB79-93DFC1BB75CC}" presName="dummy" presStyleCnt="0"/>
      <dgm:spPr/>
      <dgm:t>
        <a:bodyPr/>
        <a:lstStyle/>
        <a:p>
          <a:endParaRPr lang="es-CR"/>
        </a:p>
      </dgm:t>
    </dgm:pt>
    <dgm:pt modelId="{17D583AF-EB88-4C23-B7AF-A5ADE0107ED7}" type="pres">
      <dgm:prSet presAssocID="{111208E8-35D8-4C54-AE18-65E3D39BD864}" presName="sibTrans" presStyleLbl="sibTrans2D1" presStyleIdx="4" presStyleCnt="5"/>
      <dgm:spPr/>
      <dgm:t>
        <a:bodyPr/>
        <a:lstStyle/>
        <a:p>
          <a:endParaRPr lang="es-CR"/>
        </a:p>
      </dgm:t>
    </dgm:pt>
  </dgm:ptLst>
  <dgm:cxnLst>
    <dgm:cxn modelId="{D6D2D069-0E77-4040-824C-92CF4B90B011}" type="presOf" srcId="{721A71E1-1115-45AD-ABE5-A10ADE54503F}" destId="{1C036797-DE01-4FF5-9BE5-6010E5858A44}" srcOrd="0" destOrd="0" presId="urn:microsoft.com/office/officeart/2005/8/layout/radial6"/>
    <dgm:cxn modelId="{5D7F5363-4FA4-4C0B-AAEE-ADE7B98F9604}" type="presOf" srcId="{8ABF5BAC-50DE-4026-A97E-72FF4FD31C20}" destId="{083A1129-F57D-4ACC-9806-A4277B72CECE}" srcOrd="0" destOrd="0" presId="urn:microsoft.com/office/officeart/2005/8/layout/radial6"/>
    <dgm:cxn modelId="{7C548654-E488-4B48-AE6B-3FF3C006F9EC}" type="presOf" srcId="{C623A729-3CCD-4956-BB79-93DFC1BB75CC}" destId="{A466586F-F046-4C80-B526-33BE2447A6F8}" srcOrd="0" destOrd="0" presId="urn:microsoft.com/office/officeart/2005/8/layout/radial6"/>
    <dgm:cxn modelId="{306ECF16-97CA-44E0-8C8E-96037A01EF6A}" type="presOf" srcId="{215A5450-8B5E-467E-824B-0127D664A527}" destId="{6F53AB07-62BA-4DD8-B67A-2C2C77C3C5E7}" srcOrd="0" destOrd="0" presId="urn:microsoft.com/office/officeart/2005/8/layout/radial6"/>
    <dgm:cxn modelId="{B8CC6883-8A75-48C9-AB9B-54BB41BFAA31}" type="presOf" srcId="{FF738839-EEB3-47AF-943F-3EDE399E2A49}" destId="{01EFFEB1-C0FD-44E2-9964-A8D7371226D8}" srcOrd="0" destOrd="0" presId="urn:microsoft.com/office/officeart/2005/8/layout/radial6"/>
    <dgm:cxn modelId="{033B1022-6244-430B-B4B8-C2B13D3A6E03}" type="presOf" srcId="{DC03916B-C9D8-45CB-A80A-553B54370BF7}" destId="{9E9891F2-913F-4567-A63C-01FED1851F21}" srcOrd="0" destOrd="0" presId="urn:microsoft.com/office/officeart/2005/8/layout/radial6"/>
    <dgm:cxn modelId="{FC75BC12-E4B5-496D-B568-92CCBBE60AF9}" srcId="{8ABF5BAC-50DE-4026-A97E-72FF4FD31C20}" destId="{C623A729-3CCD-4956-BB79-93DFC1BB75CC}" srcOrd="4" destOrd="0" parTransId="{D2368D69-CE4C-42F8-8627-1525B6C4CB17}" sibTransId="{111208E8-35D8-4C54-AE18-65E3D39BD864}"/>
    <dgm:cxn modelId="{B56DE60A-AEB9-4491-B59A-223286B72B0A}" srcId="{8ABF5BAC-50DE-4026-A97E-72FF4FD31C20}" destId="{215A5450-8B5E-467E-824B-0127D664A527}" srcOrd="1" destOrd="0" parTransId="{8DACCDA7-41B0-40AE-8A83-E7E2A751DB4F}" sibTransId="{6FA915C4-69CD-4BA6-9AF2-55DAF7427391}"/>
    <dgm:cxn modelId="{D1F40E11-F73A-4684-8324-0F262412F38E}" srcId="{8ABF5BAC-50DE-4026-A97E-72FF4FD31C20}" destId="{FF738839-EEB3-47AF-943F-3EDE399E2A49}" srcOrd="2" destOrd="0" parTransId="{CFFB572A-1CE7-4B31-9BF6-C8AB3A8F2979}" sibTransId="{721A71E1-1115-45AD-ABE5-A10ADE54503F}"/>
    <dgm:cxn modelId="{F8153993-D526-4C67-818C-9D3E42585C5D}" type="presOf" srcId="{81EBBE3C-34E5-4CF1-ACC1-A6C4B35020A5}" destId="{D9B90EFE-8746-4EF6-A76F-5B9CDE5E3CF2}" srcOrd="0" destOrd="0" presId="urn:microsoft.com/office/officeart/2005/8/layout/radial6"/>
    <dgm:cxn modelId="{12EFA7C4-A46D-4C2A-A3DE-16BD4224ECF2}" type="presOf" srcId="{07378FB0-1070-4053-A7B2-D2C2DAB50E44}" destId="{8707B6EA-5286-4731-B43D-303121B4AEAD}" srcOrd="0" destOrd="0" presId="urn:microsoft.com/office/officeart/2005/8/layout/radial6"/>
    <dgm:cxn modelId="{6D23154F-FBAB-43F5-B69C-C250ADB037B1}" type="presOf" srcId="{6E61FD5C-5836-4790-A8AD-22E743BF9130}" destId="{159C4049-B18D-46E6-9DDC-E0D41A8F3355}" srcOrd="0" destOrd="0" presId="urn:microsoft.com/office/officeart/2005/8/layout/radial6"/>
    <dgm:cxn modelId="{3D78A846-43A6-4794-9C56-F468D34601E9}" type="presOf" srcId="{6FA915C4-69CD-4BA6-9AF2-55DAF7427391}" destId="{C20BBDC7-CB6D-4585-A356-3F21F3D4AA08}" srcOrd="0" destOrd="0" presId="urn:microsoft.com/office/officeart/2005/8/layout/radial6"/>
    <dgm:cxn modelId="{0AE60FEC-EA79-45EE-BAE5-67E0A240517B}" type="presOf" srcId="{FCCDF932-427F-4ADF-BD7C-D2D0C7139220}" destId="{40CFF88C-973B-458F-BFBE-D3F08ACE5DD7}" srcOrd="0" destOrd="0" presId="urn:microsoft.com/office/officeart/2005/8/layout/radial6"/>
    <dgm:cxn modelId="{57BD8C4B-95E6-423D-96E0-777D0AAA00D9}" srcId="{8ABF5BAC-50DE-4026-A97E-72FF4FD31C20}" destId="{FCCDF932-427F-4ADF-BD7C-D2D0C7139220}" srcOrd="3" destOrd="0" parTransId="{43195FD1-04A7-4C7E-B867-2BE5D0D203F3}" sibTransId="{DC03916B-C9D8-45CB-A80A-553B54370BF7}"/>
    <dgm:cxn modelId="{8A2E89FB-5039-4D3D-A589-2471A6ADF4E9}" type="presOf" srcId="{111208E8-35D8-4C54-AE18-65E3D39BD864}" destId="{17D583AF-EB88-4C23-B7AF-A5ADE0107ED7}" srcOrd="0" destOrd="0" presId="urn:microsoft.com/office/officeart/2005/8/layout/radial6"/>
    <dgm:cxn modelId="{6C9095B0-B578-4E27-830C-45EB1BC1036B}" srcId="{8ABF5BAC-50DE-4026-A97E-72FF4FD31C20}" destId="{81EBBE3C-34E5-4CF1-ACC1-A6C4B35020A5}" srcOrd="0" destOrd="0" parTransId="{4DEF1473-804F-4B36-B2D5-8051C79EFF9C}" sibTransId="{6E61FD5C-5836-4790-A8AD-22E743BF9130}"/>
    <dgm:cxn modelId="{5C3462A6-BFC1-4BD9-B074-84EAF5230510}" srcId="{07378FB0-1070-4053-A7B2-D2C2DAB50E44}" destId="{8ABF5BAC-50DE-4026-A97E-72FF4FD31C20}" srcOrd="0" destOrd="0" parTransId="{0EF7F4A3-F460-4C18-95A5-98D383EDB8EC}" sibTransId="{A086E9AD-DD16-434D-B262-5CC51870BCA9}"/>
    <dgm:cxn modelId="{4D2AB106-F80A-45C9-A995-C28378D63E2E}" type="presParOf" srcId="{8707B6EA-5286-4731-B43D-303121B4AEAD}" destId="{083A1129-F57D-4ACC-9806-A4277B72CECE}" srcOrd="0" destOrd="0" presId="urn:microsoft.com/office/officeart/2005/8/layout/radial6"/>
    <dgm:cxn modelId="{DA4EC234-3FFB-45A0-A31D-0F0CD8145AD2}" type="presParOf" srcId="{8707B6EA-5286-4731-B43D-303121B4AEAD}" destId="{D9B90EFE-8746-4EF6-A76F-5B9CDE5E3CF2}" srcOrd="1" destOrd="0" presId="urn:microsoft.com/office/officeart/2005/8/layout/radial6"/>
    <dgm:cxn modelId="{10DFF533-BD64-401A-9DFD-56EBF493EBC0}" type="presParOf" srcId="{8707B6EA-5286-4731-B43D-303121B4AEAD}" destId="{DF4D60A1-2156-4287-B5FE-770F0D668C5A}" srcOrd="2" destOrd="0" presId="urn:microsoft.com/office/officeart/2005/8/layout/radial6"/>
    <dgm:cxn modelId="{C8730DE1-1089-4667-8CA1-D7560F5267DA}" type="presParOf" srcId="{8707B6EA-5286-4731-B43D-303121B4AEAD}" destId="{159C4049-B18D-46E6-9DDC-E0D41A8F3355}" srcOrd="3" destOrd="0" presId="urn:microsoft.com/office/officeart/2005/8/layout/radial6"/>
    <dgm:cxn modelId="{E94A6025-B8FE-4B14-9C38-BF053B4429CC}" type="presParOf" srcId="{8707B6EA-5286-4731-B43D-303121B4AEAD}" destId="{6F53AB07-62BA-4DD8-B67A-2C2C77C3C5E7}" srcOrd="4" destOrd="0" presId="urn:microsoft.com/office/officeart/2005/8/layout/radial6"/>
    <dgm:cxn modelId="{EE9ACA9B-94DC-4A37-8EC5-1AEB244DC6A7}" type="presParOf" srcId="{8707B6EA-5286-4731-B43D-303121B4AEAD}" destId="{F3E51772-44B0-4E0A-A0A0-44A14D347FF3}" srcOrd="5" destOrd="0" presId="urn:microsoft.com/office/officeart/2005/8/layout/radial6"/>
    <dgm:cxn modelId="{FFD57E13-2065-4035-B6C1-76A036F5F185}" type="presParOf" srcId="{8707B6EA-5286-4731-B43D-303121B4AEAD}" destId="{C20BBDC7-CB6D-4585-A356-3F21F3D4AA08}" srcOrd="6" destOrd="0" presId="urn:microsoft.com/office/officeart/2005/8/layout/radial6"/>
    <dgm:cxn modelId="{48C8F9CB-1B7D-459D-8D20-9A628C2E5D52}" type="presParOf" srcId="{8707B6EA-5286-4731-B43D-303121B4AEAD}" destId="{01EFFEB1-C0FD-44E2-9964-A8D7371226D8}" srcOrd="7" destOrd="0" presId="urn:microsoft.com/office/officeart/2005/8/layout/radial6"/>
    <dgm:cxn modelId="{B347E930-BFC3-4584-B54C-6DBAE851E3C2}" type="presParOf" srcId="{8707B6EA-5286-4731-B43D-303121B4AEAD}" destId="{76EFA1D7-91D3-4731-AC07-F8950392BE45}" srcOrd="8" destOrd="0" presId="urn:microsoft.com/office/officeart/2005/8/layout/radial6"/>
    <dgm:cxn modelId="{87641270-4BBA-4EDF-BED7-C97A0F710A13}" type="presParOf" srcId="{8707B6EA-5286-4731-B43D-303121B4AEAD}" destId="{1C036797-DE01-4FF5-9BE5-6010E5858A44}" srcOrd="9" destOrd="0" presId="urn:microsoft.com/office/officeart/2005/8/layout/radial6"/>
    <dgm:cxn modelId="{A4FD70D6-0988-4053-B721-F26A924F6E30}" type="presParOf" srcId="{8707B6EA-5286-4731-B43D-303121B4AEAD}" destId="{40CFF88C-973B-458F-BFBE-D3F08ACE5DD7}" srcOrd="10" destOrd="0" presId="urn:microsoft.com/office/officeart/2005/8/layout/radial6"/>
    <dgm:cxn modelId="{787B8CED-B0C5-4C79-A224-02AACC17C282}" type="presParOf" srcId="{8707B6EA-5286-4731-B43D-303121B4AEAD}" destId="{532842CF-0D12-43B2-9133-A86A4003D24F}" srcOrd="11" destOrd="0" presId="urn:microsoft.com/office/officeart/2005/8/layout/radial6"/>
    <dgm:cxn modelId="{908FBA71-A232-4FAF-9107-8F8ABD449BD6}" type="presParOf" srcId="{8707B6EA-5286-4731-B43D-303121B4AEAD}" destId="{9E9891F2-913F-4567-A63C-01FED1851F21}" srcOrd="12" destOrd="0" presId="urn:microsoft.com/office/officeart/2005/8/layout/radial6"/>
    <dgm:cxn modelId="{DE6CA395-6767-4F0E-B11A-682E2C696F2D}" type="presParOf" srcId="{8707B6EA-5286-4731-B43D-303121B4AEAD}" destId="{A466586F-F046-4C80-B526-33BE2447A6F8}" srcOrd="13" destOrd="0" presId="urn:microsoft.com/office/officeart/2005/8/layout/radial6"/>
    <dgm:cxn modelId="{9FC4D5DA-0C31-438B-A5C3-313FD6650A1B}" type="presParOf" srcId="{8707B6EA-5286-4731-B43D-303121B4AEAD}" destId="{5CDCBFC3-B458-4974-8048-CA85E4DB5455}" srcOrd="14" destOrd="0" presId="urn:microsoft.com/office/officeart/2005/8/layout/radial6"/>
    <dgm:cxn modelId="{DF92EF50-EE03-484F-90CD-FC90CF909461}" type="presParOf" srcId="{8707B6EA-5286-4731-B43D-303121B4AEAD}" destId="{17D583AF-EB88-4C23-B7AF-A5ADE0107ED7}" srcOrd="15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895B689-56A0-4913-9FD6-329B591D7965}">
      <dsp:nvSpPr>
        <dsp:cNvPr id="0" name=""/>
        <dsp:cNvSpPr/>
      </dsp:nvSpPr>
      <dsp:spPr>
        <a:xfrm>
          <a:off x="1715595" y="-32117"/>
          <a:ext cx="5374270" cy="5155324"/>
        </a:xfrm>
        <a:prstGeom prst="ellipse">
          <a:avLst/>
        </a:prstGeom>
        <a:solidFill>
          <a:schemeClr val="accent1"/>
        </a:solidFill>
        <a:ln w="19050">
          <a:solidFill>
            <a:srgbClr val="282828"/>
          </a:solidFill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UY" sz="1600" b="1" kern="1200" noProof="0" dirty="0" smtClean="0">
              <a:solidFill>
                <a:schemeClr val="bg1"/>
              </a:solidFill>
            </a:rPr>
            <a:t>Procesos</a:t>
          </a:r>
          <a:endParaRPr lang="es-UY" sz="1600" b="1" kern="1200" noProof="0" dirty="0">
            <a:solidFill>
              <a:schemeClr val="bg1"/>
            </a:solidFill>
          </a:endParaRPr>
        </a:p>
      </dsp:txBody>
      <dsp:txXfrm>
        <a:off x="3651407" y="225648"/>
        <a:ext cx="1502646" cy="773298"/>
      </dsp:txXfrm>
    </dsp:sp>
    <dsp:sp modelId="{46583846-B6CC-47F9-8487-2EBCAF8E53E2}">
      <dsp:nvSpPr>
        <dsp:cNvPr id="0" name=""/>
        <dsp:cNvSpPr/>
      </dsp:nvSpPr>
      <dsp:spPr>
        <a:xfrm>
          <a:off x="2115870" y="934711"/>
          <a:ext cx="4573720" cy="4252729"/>
        </a:xfrm>
        <a:prstGeom prst="ellipse">
          <a:avLst/>
        </a:prstGeom>
        <a:solidFill>
          <a:schemeClr val="accent1"/>
        </a:solidFill>
        <a:ln w="19050">
          <a:solidFill>
            <a:srgbClr val="282828"/>
          </a:solidFill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UY" sz="1600" b="1" kern="1200" noProof="0" dirty="0" smtClean="0">
              <a:solidFill>
                <a:schemeClr val="bg1"/>
              </a:solidFill>
            </a:rPr>
            <a:t>Administración de  Contenido</a:t>
          </a:r>
          <a:endParaRPr lang="es-UY" sz="1600" b="1" kern="1200" noProof="0" dirty="0">
            <a:solidFill>
              <a:schemeClr val="bg1"/>
            </a:solidFill>
          </a:endParaRPr>
        </a:p>
      </dsp:txBody>
      <dsp:txXfrm>
        <a:off x="3603472" y="1189875"/>
        <a:ext cx="1598515" cy="765491"/>
      </dsp:txXfrm>
    </dsp:sp>
    <dsp:sp modelId="{EE7CB58F-5E4B-415B-A3E4-2478D202EF1C}">
      <dsp:nvSpPr>
        <dsp:cNvPr id="0" name=""/>
        <dsp:cNvSpPr/>
      </dsp:nvSpPr>
      <dsp:spPr>
        <a:xfrm>
          <a:off x="2701195" y="2030011"/>
          <a:ext cx="3403070" cy="3093194"/>
        </a:xfrm>
        <a:prstGeom prst="ellipse">
          <a:avLst/>
        </a:prstGeom>
        <a:solidFill>
          <a:schemeClr val="accent1"/>
        </a:solidFill>
        <a:ln w="19050">
          <a:solidFill>
            <a:srgbClr val="282828"/>
          </a:solidFill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UY" sz="1600" b="1" kern="1200" noProof="0" dirty="0" smtClean="0">
              <a:solidFill>
                <a:schemeClr val="bg1"/>
              </a:solidFill>
            </a:rPr>
            <a:t>Arquitectura</a:t>
          </a:r>
          <a:br>
            <a:rPr lang="es-UY" sz="1600" b="1" kern="1200" noProof="0" dirty="0" smtClean="0">
              <a:solidFill>
                <a:schemeClr val="bg1"/>
              </a:solidFill>
            </a:rPr>
          </a:br>
          <a:r>
            <a:rPr lang="es-UY" sz="1600" b="1" kern="1200" noProof="0" dirty="0" smtClean="0">
              <a:solidFill>
                <a:schemeClr val="bg1"/>
              </a:solidFill>
            </a:rPr>
            <a:t>Información</a:t>
          </a:r>
          <a:endParaRPr lang="es-UY" sz="1600" b="1" kern="1200" noProof="0" dirty="0">
            <a:solidFill>
              <a:schemeClr val="bg1"/>
            </a:solidFill>
          </a:endParaRPr>
        </a:p>
      </dsp:txBody>
      <dsp:txXfrm>
        <a:off x="3609815" y="2262001"/>
        <a:ext cx="1585830" cy="695968"/>
      </dsp:txXfrm>
    </dsp:sp>
    <dsp:sp modelId="{155B4E4A-D385-4A75-B0FF-A887154E6242}">
      <dsp:nvSpPr>
        <dsp:cNvPr id="0" name=""/>
        <dsp:cNvSpPr/>
      </dsp:nvSpPr>
      <dsp:spPr>
        <a:xfrm>
          <a:off x="3221460" y="3061076"/>
          <a:ext cx="2362540" cy="2062129"/>
        </a:xfrm>
        <a:prstGeom prst="ellipse">
          <a:avLst/>
        </a:prstGeom>
        <a:solidFill>
          <a:schemeClr val="accent1"/>
        </a:solidFill>
        <a:ln w="19050">
          <a:solidFill>
            <a:srgbClr val="282828"/>
          </a:solidFill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UY" sz="1600" b="1" kern="1200" noProof="0" dirty="0" smtClean="0">
              <a:solidFill>
                <a:schemeClr val="bg1"/>
              </a:solidFill>
            </a:rPr>
            <a:t>Análisis de Información</a:t>
          </a:r>
          <a:endParaRPr lang="es-UY" sz="1600" b="1" kern="1200" noProof="0" dirty="0">
            <a:solidFill>
              <a:schemeClr val="bg1"/>
            </a:solidFill>
          </a:endParaRPr>
        </a:p>
      </dsp:txBody>
      <dsp:txXfrm>
        <a:off x="3567446" y="3576609"/>
        <a:ext cx="1670568" cy="103106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D14C2EB-2620-40CD-ACA3-2B2AD8B2A450}">
      <dsp:nvSpPr>
        <dsp:cNvPr id="0" name=""/>
        <dsp:cNvSpPr/>
      </dsp:nvSpPr>
      <dsp:spPr>
        <a:xfrm>
          <a:off x="2322539" y="2417"/>
          <a:ext cx="1267364" cy="823787"/>
        </a:xfrm>
        <a:prstGeom prst="roundRect">
          <a:avLst/>
        </a:prstGeom>
        <a:solidFill>
          <a:schemeClr val="accent1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US" sz="1800" kern="1200" noProof="0" dirty="0" smtClean="0"/>
            <a:t>Definición</a:t>
          </a:r>
          <a:endParaRPr lang="es-US" sz="1800" kern="1200" noProof="0" dirty="0"/>
        </a:p>
      </dsp:txBody>
      <dsp:txXfrm>
        <a:off x="2362753" y="42631"/>
        <a:ext cx="1186936" cy="743359"/>
      </dsp:txXfrm>
    </dsp:sp>
    <dsp:sp modelId="{1B0A8868-04BD-4FBB-8715-8D61805B2A68}">
      <dsp:nvSpPr>
        <dsp:cNvPr id="0" name=""/>
        <dsp:cNvSpPr/>
      </dsp:nvSpPr>
      <dsp:spPr>
        <a:xfrm>
          <a:off x="1310459" y="414311"/>
          <a:ext cx="3291524" cy="3291524"/>
        </a:xfrm>
        <a:custGeom>
          <a:avLst/>
          <a:gdLst/>
          <a:ahLst/>
          <a:cxnLst/>
          <a:rect l="0" t="0" r="0" b="0"/>
          <a:pathLst>
            <a:path>
              <a:moveTo>
                <a:pt x="2449209" y="209445"/>
              </a:moveTo>
              <a:arcTo wR="1645762" hR="1645762" stAng="17953309" swAng="1211740"/>
            </a:path>
          </a:pathLst>
        </a:custGeom>
        <a:noFill/>
        <a:ln w="635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CBDA25B-E6FC-4724-AF9E-6F336868CC70}">
      <dsp:nvSpPr>
        <dsp:cNvPr id="0" name=""/>
        <dsp:cNvSpPr/>
      </dsp:nvSpPr>
      <dsp:spPr>
        <a:xfrm>
          <a:off x="3887752" y="1139611"/>
          <a:ext cx="1267364" cy="823787"/>
        </a:xfrm>
        <a:prstGeom prst="roundRect">
          <a:avLst/>
        </a:prstGeom>
        <a:solidFill>
          <a:schemeClr val="accent1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US" sz="1800" kern="1200" noProof="0" dirty="0" smtClean="0"/>
            <a:t>Diseño</a:t>
          </a:r>
          <a:endParaRPr lang="es-US" sz="1800" kern="1200" noProof="0" dirty="0"/>
        </a:p>
      </dsp:txBody>
      <dsp:txXfrm>
        <a:off x="3927966" y="1179825"/>
        <a:ext cx="1186936" cy="743359"/>
      </dsp:txXfrm>
    </dsp:sp>
    <dsp:sp modelId="{ACCB07B8-A4F4-4116-B84F-F5832505EB9B}">
      <dsp:nvSpPr>
        <dsp:cNvPr id="0" name=""/>
        <dsp:cNvSpPr/>
      </dsp:nvSpPr>
      <dsp:spPr>
        <a:xfrm>
          <a:off x="1310459" y="414311"/>
          <a:ext cx="3291524" cy="3291524"/>
        </a:xfrm>
        <a:custGeom>
          <a:avLst/>
          <a:gdLst/>
          <a:ahLst/>
          <a:cxnLst/>
          <a:rect l="0" t="0" r="0" b="0"/>
          <a:pathLst>
            <a:path>
              <a:moveTo>
                <a:pt x="3287578" y="1759655"/>
              </a:moveTo>
              <a:arcTo wR="1645762" hR="1645762" stAng="21838096" swAng="1359882"/>
            </a:path>
          </a:pathLst>
        </a:custGeom>
        <a:noFill/>
        <a:ln w="6350" cap="flat" cmpd="sng" algn="ctr">
          <a:solidFill>
            <a:schemeClr val="accent5">
              <a:hueOff val="-1838336"/>
              <a:satOff val="-2557"/>
              <a:lumOff val="-981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7BC8E4-7C89-4A72-AC6B-D6DC15AAFEF2}">
      <dsp:nvSpPr>
        <dsp:cNvPr id="0" name=""/>
        <dsp:cNvSpPr/>
      </dsp:nvSpPr>
      <dsp:spPr>
        <a:xfrm>
          <a:off x="3289894" y="2979629"/>
          <a:ext cx="1267364" cy="823787"/>
        </a:xfrm>
        <a:prstGeom prst="roundRect">
          <a:avLst/>
        </a:prstGeom>
        <a:solidFill>
          <a:schemeClr val="accent1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US" sz="1800" kern="1200" noProof="0" dirty="0" smtClean="0"/>
            <a:t>Desarrollo</a:t>
          </a:r>
          <a:endParaRPr lang="es-US" sz="1800" kern="1200" noProof="0" dirty="0"/>
        </a:p>
      </dsp:txBody>
      <dsp:txXfrm>
        <a:off x="3330108" y="3019843"/>
        <a:ext cx="1186936" cy="743359"/>
      </dsp:txXfrm>
    </dsp:sp>
    <dsp:sp modelId="{BE2C4186-9641-4222-AEFD-8A4B3911C362}">
      <dsp:nvSpPr>
        <dsp:cNvPr id="0" name=""/>
        <dsp:cNvSpPr/>
      </dsp:nvSpPr>
      <dsp:spPr>
        <a:xfrm>
          <a:off x="1310459" y="414311"/>
          <a:ext cx="3291524" cy="3291524"/>
        </a:xfrm>
        <a:custGeom>
          <a:avLst/>
          <a:gdLst/>
          <a:ahLst/>
          <a:cxnLst/>
          <a:rect l="0" t="0" r="0" b="0"/>
          <a:pathLst>
            <a:path>
              <a:moveTo>
                <a:pt x="1897758" y="3272116"/>
              </a:moveTo>
              <a:arcTo wR="1645762" hR="1645762" stAng="4871538" swAng="522498"/>
            </a:path>
          </a:pathLst>
        </a:custGeom>
        <a:noFill/>
        <a:ln w="6350" cap="flat" cmpd="sng" algn="ctr">
          <a:solidFill>
            <a:schemeClr val="accent5">
              <a:hueOff val="-3676672"/>
              <a:satOff val="-5114"/>
              <a:lumOff val="-1961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FC9FC25-A18B-429B-90CA-BE8C95E722EF}">
      <dsp:nvSpPr>
        <dsp:cNvPr id="0" name=""/>
        <dsp:cNvSpPr/>
      </dsp:nvSpPr>
      <dsp:spPr>
        <a:xfrm>
          <a:off x="1101636" y="2979629"/>
          <a:ext cx="1774462" cy="823787"/>
        </a:xfrm>
        <a:prstGeom prst="roundRect">
          <a:avLst/>
        </a:prstGeom>
        <a:solidFill>
          <a:schemeClr val="accent1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US" sz="1800" kern="1200" noProof="0" dirty="0" smtClean="0"/>
            <a:t>Implementación</a:t>
          </a:r>
          <a:endParaRPr lang="es-US" sz="1800" kern="1200" noProof="0" dirty="0"/>
        </a:p>
      </dsp:txBody>
      <dsp:txXfrm>
        <a:off x="1141850" y="3019843"/>
        <a:ext cx="1694034" cy="743359"/>
      </dsp:txXfrm>
    </dsp:sp>
    <dsp:sp modelId="{5B9594F9-FA50-486E-9684-D1F74DF00850}">
      <dsp:nvSpPr>
        <dsp:cNvPr id="0" name=""/>
        <dsp:cNvSpPr/>
      </dsp:nvSpPr>
      <dsp:spPr>
        <a:xfrm>
          <a:off x="1310459" y="414311"/>
          <a:ext cx="3291524" cy="3291524"/>
        </a:xfrm>
        <a:custGeom>
          <a:avLst/>
          <a:gdLst/>
          <a:ahLst/>
          <a:cxnLst/>
          <a:rect l="0" t="0" r="0" b="0"/>
          <a:pathLst>
            <a:path>
              <a:moveTo>
                <a:pt x="174621" y="2383513"/>
              </a:moveTo>
              <a:arcTo wR="1645762" hR="1645762" stAng="9202022" swAng="1359882"/>
            </a:path>
          </a:pathLst>
        </a:custGeom>
        <a:noFill/>
        <a:ln w="6350" cap="flat" cmpd="sng" algn="ctr">
          <a:solidFill>
            <a:schemeClr val="accent5">
              <a:hueOff val="-5515009"/>
              <a:satOff val="-7671"/>
              <a:lumOff val="-2942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E30BC40-7032-4586-80FA-E859190D0955}">
      <dsp:nvSpPr>
        <dsp:cNvPr id="0" name=""/>
        <dsp:cNvSpPr/>
      </dsp:nvSpPr>
      <dsp:spPr>
        <a:xfrm>
          <a:off x="757326" y="1139611"/>
          <a:ext cx="1267364" cy="823787"/>
        </a:xfrm>
        <a:prstGeom prst="roundRect">
          <a:avLst/>
        </a:prstGeom>
        <a:solidFill>
          <a:schemeClr val="accent1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US" sz="1800" kern="1200" noProof="0" dirty="0" smtClean="0"/>
            <a:t>Operación</a:t>
          </a:r>
          <a:endParaRPr lang="es-US" sz="1800" kern="1200" noProof="0" dirty="0"/>
        </a:p>
      </dsp:txBody>
      <dsp:txXfrm>
        <a:off x="797540" y="1179825"/>
        <a:ext cx="1186936" cy="743359"/>
      </dsp:txXfrm>
    </dsp:sp>
    <dsp:sp modelId="{7D3F1355-CA58-429F-BF21-D034941454B4}">
      <dsp:nvSpPr>
        <dsp:cNvPr id="0" name=""/>
        <dsp:cNvSpPr/>
      </dsp:nvSpPr>
      <dsp:spPr>
        <a:xfrm>
          <a:off x="1310459" y="414311"/>
          <a:ext cx="3291524" cy="3291524"/>
        </a:xfrm>
        <a:custGeom>
          <a:avLst/>
          <a:gdLst/>
          <a:ahLst/>
          <a:cxnLst/>
          <a:rect l="0" t="0" r="0" b="0"/>
          <a:pathLst>
            <a:path>
              <a:moveTo>
                <a:pt x="395855" y="575123"/>
              </a:moveTo>
              <a:arcTo wR="1645762" hR="1645762" stAng="13234952" swAng="1211740"/>
            </a:path>
          </a:pathLst>
        </a:custGeom>
        <a:noFill/>
        <a:ln w="6350" cap="flat" cmpd="sng" algn="ctr">
          <a:solidFill>
            <a:schemeClr val="accent5">
              <a:hueOff val="-7353344"/>
              <a:satOff val="-10228"/>
              <a:lumOff val="-3922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7D583AF-EB88-4C23-B7AF-A5ADE0107ED7}">
      <dsp:nvSpPr>
        <dsp:cNvPr id="0" name=""/>
        <dsp:cNvSpPr/>
      </dsp:nvSpPr>
      <dsp:spPr>
        <a:xfrm>
          <a:off x="1833987" y="717549"/>
          <a:ext cx="4657159" cy="4657159"/>
        </a:xfrm>
        <a:prstGeom prst="blockArc">
          <a:avLst>
            <a:gd name="adj1" fmla="val 11880000"/>
            <a:gd name="adj2" fmla="val 16200000"/>
            <a:gd name="adj3" fmla="val 463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E9891F2-913F-4567-A63C-01FED1851F21}">
      <dsp:nvSpPr>
        <dsp:cNvPr id="0" name=""/>
        <dsp:cNvSpPr/>
      </dsp:nvSpPr>
      <dsp:spPr>
        <a:xfrm>
          <a:off x="1833987" y="717549"/>
          <a:ext cx="4657159" cy="4657159"/>
        </a:xfrm>
        <a:prstGeom prst="blockArc">
          <a:avLst>
            <a:gd name="adj1" fmla="val 7560000"/>
            <a:gd name="adj2" fmla="val 11880000"/>
            <a:gd name="adj3" fmla="val 463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C036797-DE01-4FF5-9BE5-6010E5858A44}">
      <dsp:nvSpPr>
        <dsp:cNvPr id="0" name=""/>
        <dsp:cNvSpPr/>
      </dsp:nvSpPr>
      <dsp:spPr>
        <a:xfrm>
          <a:off x="1833987" y="717549"/>
          <a:ext cx="4657159" cy="4657159"/>
        </a:xfrm>
        <a:prstGeom prst="blockArc">
          <a:avLst>
            <a:gd name="adj1" fmla="val 3240000"/>
            <a:gd name="adj2" fmla="val 7560000"/>
            <a:gd name="adj3" fmla="val 463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20BBDC7-CB6D-4585-A356-3F21F3D4AA08}">
      <dsp:nvSpPr>
        <dsp:cNvPr id="0" name=""/>
        <dsp:cNvSpPr/>
      </dsp:nvSpPr>
      <dsp:spPr>
        <a:xfrm>
          <a:off x="1833987" y="717549"/>
          <a:ext cx="4657159" cy="4657159"/>
        </a:xfrm>
        <a:prstGeom prst="blockArc">
          <a:avLst>
            <a:gd name="adj1" fmla="val 20520000"/>
            <a:gd name="adj2" fmla="val 3240000"/>
            <a:gd name="adj3" fmla="val 463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59C4049-B18D-46E6-9DDC-E0D41A8F3355}">
      <dsp:nvSpPr>
        <dsp:cNvPr id="0" name=""/>
        <dsp:cNvSpPr/>
      </dsp:nvSpPr>
      <dsp:spPr>
        <a:xfrm>
          <a:off x="1833987" y="717549"/>
          <a:ext cx="4657159" cy="4657159"/>
        </a:xfrm>
        <a:prstGeom prst="blockArc">
          <a:avLst>
            <a:gd name="adj1" fmla="val 16200000"/>
            <a:gd name="adj2" fmla="val 20520000"/>
            <a:gd name="adj3" fmla="val 463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83A1129-F57D-4ACC-9806-A4277B72CECE}">
      <dsp:nvSpPr>
        <dsp:cNvPr id="0" name=""/>
        <dsp:cNvSpPr/>
      </dsp:nvSpPr>
      <dsp:spPr>
        <a:xfrm>
          <a:off x="3091438" y="1975000"/>
          <a:ext cx="2142258" cy="214225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R" sz="14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</a:t>
          </a:r>
          <a:r>
            <a:rPr lang="es-CR" sz="4000" b="0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ECM</a:t>
          </a:r>
          <a:endParaRPr lang="es-CR" sz="4000" b="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3405164" y="2288726"/>
        <a:ext cx="1514806" cy="1514806"/>
      </dsp:txXfrm>
    </dsp:sp>
    <dsp:sp modelId="{D9B90EFE-8746-4EF6-A76F-5B9CDE5E3CF2}">
      <dsp:nvSpPr>
        <dsp:cNvPr id="0" name=""/>
        <dsp:cNvSpPr/>
      </dsp:nvSpPr>
      <dsp:spPr>
        <a:xfrm>
          <a:off x="3248167" y="-142865"/>
          <a:ext cx="1828799" cy="182879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R" sz="1800" b="0" kern="1200" dirty="0" smtClean="0">
              <a:effectLst/>
            </a:rPr>
            <a:t>1. Gestión de Cambio (Físico a digital)</a:t>
          </a:r>
          <a:endParaRPr lang="es-CR" sz="1800" b="0" kern="1200" dirty="0">
            <a:effectLst/>
          </a:endParaRPr>
        </a:p>
      </dsp:txBody>
      <dsp:txXfrm>
        <a:off x="3515988" y="124956"/>
        <a:ext cx="1293157" cy="1293157"/>
      </dsp:txXfrm>
    </dsp:sp>
    <dsp:sp modelId="{6F53AB07-62BA-4DD8-B67A-2C2C77C3C5E7}">
      <dsp:nvSpPr>
        <dsp:cNvPr id="0" name=""/>
        <dsp:cNvSpPr/>
      </dsp:nvSpPr>
      <dsp:spPr>
        <a:xfrm>
          <a:off x="5411436" y="1428841"/>
          <a:ext cx="1828799" cy="182879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R" sz="1800" b="0" kern="1200" dirty="0" smtClean="0">
              <a:effectLst/>
            </a:rPr>
            <a:t>2. Arquitectura de la Información</a:t>
          </a:r>
          <a:endParaRPr lang="es-CR" sz="1800" b="0" kern="1200" dirty="0">
            <a:effectLst/>
          </a:endParaRPr>
        </a:p>
      </dsp:txBody>
      <dsp:txXfrm>
        <a:off x="5679257" y="1696662"/>
        <a:ext cx="1293157" cy="1293157"/>
      </dsp:txXfrm>
    </dsp:sp>
    <dsp:sp modelId="{01EFFEB1-C0FD-44E2-9964-A8D7371226D8}">
      <dsp:nvSpPr>
        <dsp:cNvPr id="0" name=""/>
        <dsp:cNvSpPr/>
      </dsp:nvSpPr>
      <dsp:spPr>
        <a:xfrm>
          <a:off x="4585141" y="3971915"/>
          <a:ext cx="1828799" cy="182879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R" sz="1800" b="0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3. Arquitectura de la Infraestructura</a:t>
          </a:r>
          <a:endParaRPr lang="es-CR" sz="1800" b="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4852962" y="4239736"/>
        <a:ext cx="1293157" cy="1293157"/>
      </dsp:txXfrm>
    </dsp:sp>
    <dsp:sp modelId="{40CFF88C-973B-458F-BFBE-D3F08ACE5DD7}">
      <dsp:nvSpPr>
        <dsp:cNvPr id="0" name=""/>
        <dsp:cNvSpPr/>
      </dsp:nvSpPr>
      <dsp:spPr>
        <a:xfrm>
          <a:off x="1911194" y="3971915"/>
          <a:ext cx="1828799" cy="182879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R" sz="1800" b="0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4. Diseño de la Solución</a:t>
          </a:r>
          <a:endParaRPr lang="es-CR" sz="1800" b="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2179015" y="4239736"/>
        <a:ext cx="1293157" cy="1293157"/>
      </dsp:txXfrm>
    </dsp:sp>
    <dsp:sp modelId="{A466586F-F046-4C80-B526-33BE2447A6F8}">
      <dsp:nvSpPr>
        <dsp:cNvPr id="0" name=""/>
        <dsp:cNvSpPr/>
      </dsp:nvSpPr>
      <dsp:spPr>
        <a:xfrm>
          <a:off x="1084899" y="1428841"/>
          <a:ext cx="1828799" cy="182879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R" sz="1800" b="0" kern="1200" dirty="0" smtClean="0">
              <a:effectLst/>
            </a:rPr>
            <a:t>5. Implementación y puesta en marcha</a:t>
          </a:r>
          <a:endParaRPr lang="es-CR" sz="1800" b="0" kern="1200" dirty="0">
            <a:effectLst/>
          </a:endParaRPr>
        </a:p>
      </dsp:txBody>
      <dsp:txXfrm>
        <a:off x="1352720" y="1696662"/>
        <a:ext cx="1293157" cy="129315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2">
  <dgm:title val=""/>
  <dgm:desc val=""/>
  <dgm:catLst>
    <dgm:cat type="relationship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1">
      <dgm:if name="Name2" axis="ch" ptType="node" func="cnt" op="lte" val="3">
        <dgm:constrLst>
          <dgm:constr type="w" for="ch" forName="comp1" refType="w"/>
          <dgm:constr type="h" for="ch" forName="comp1" refType="w" refFor="ch" refForName="comp1"/>
          <dgm:constr type="w" for="ch" forName="comp2" refType="w" fact="0.7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5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primFontSz" for="des" ptType="node" op="equ" val="65"/>
        </dgm:constrLst>
      </dgm:if>
      <dgm:if name="Name3" axis="ch" ptType="node" func="cnt" op="equ" val="4">
        <dgm:constrLst>
          <dgm:constr type="w" for="ch" forName="comp1" refType="w"/>
          <dgm:constr type="h" for="ch" forName="comp1" refType="w" refFor="ch" refForName="comp1"/>
          <dgm:constr type="w" for="ch" forName="comp2" refType="w" fact="0.8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6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4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primFontSz" for="des" ptType="node" op="equ" val="65"/>
        </dgm:constrLst>
      </dgm:if>
      <dgm:else name="Name4">
        <dgm:constrLst>
          <dgm:constr type="w" for="ch" forName="comp1" refType="w"/>
          <dgm:constr type="h" for="ch" forName="comp1" refType="w" refFor="ch" refForName="comp1"/>
          <dgm:constr type="w" for="ch" forName="comp2" refType="w" fact="0.8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7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55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w" for="ch" forName="comp5" refType="w" fact="0.4"/>
          <dgm:constr type="h" for="ch" forName="comp5" refType="w" refFor="ch" refForName="comp5"/>
          <dgm:constr type="ctrX" for="ch" forName="comp5" refType="ctrX" refFor="ch" refForName="comp1"/>
          <dgm:constr type="b" for="ch" forName="comp5" refType="b" refFor="ch" refForName="comp1"/>
          <dgm:constr type="w" for="ch" forName="comp6" refType="w" fact="0.25"/>
          <dgm:constr type="h" for="ch" forName="comp6" refType="w" refFor="ch" refForName="comp6"/>
          <dgm:constr type="ctrX" for="ch" forName="comp6" refType="ctrX" refFor="ch" refForName="comp1"/>
          <dgm:constr type="b" for="ch" forName="comp6" refType="b" refFor="ch" refForName="comp1"/>
          <dgm:constr type="w" for="ch" forName="comp7" refType="w" fact="0.15"/>
          <dgm:constr type="h" for="ch" forName="comp7" refType="w" refFor="ch" refForName="comp7"/>
          <dgm:constr type="ctrX" for="ch" forName="comp7" refType="ctrX" refFor="ch" refForName="comp1"/>
          <dgm:constr type="b" for="ch" forName="comp7" refType="b" refFor="ch" refForName="comp1"/>
          <dgm:constr type="primFontSz" for="des" ptType="node" op="equ" val="65"/>
        </dgm:constrLst>
      </dgm:else>
    </dgm:choose>
    <dgm:ruleLst/>
    <dgm:choose name="Name5">
      <dgm:if name="Name6" axis="ch" ptType="node" func="cnt" op="gte" val="1">
        <dgm:layoutNode name="comp1">
          <dgm:alg type="composite"/>
          <dgm:shape xmlns:r="http://schemas.openxmlformats.org/officeDocument/2006/relationships" r:blip="">
            <dgm:adjLst/>
          </dgm:shape>
          <dgm:presOf/>
          <dgm:choose name="Name7">
            <dgm:if name="Name8" axis="ch" ptType="node" func="cnt" op="equ" val="1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5"/>
                <dgm:constr type="w" for="ch" forName="c1text" refType="w" refFor="ch" refForName="circle1" fact="0.70711"/>
                <dgm:constr type="h" for="ch" forName="c1text" refType="h" refFor="ch" refForName="circle1" fact="0.5"/>
              </dgm:constrLst>
            </dgm:if>
            <dgm:if name="Name9" axis="ch" ptType="node" func="cnt" op="equ" val="2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6"/>
                <dgm:constr type="w" for="ch" forName="c1text" refType="w" refFor="ch" refForName="circle1" fact="0.525"/>
                <dgm:constr type="h" for="ch" forName="c1text" refType="h" refFor="ch" refForName="circle1" fact="0.17"/>
              </dgm:constrLst>
            </dgm:if>
            <dgm:if name="Name10" axis="ch" ptType="node" func="cnt" op="equ" val="3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3495"/>
                <dgm:constr type="h" for="ch" forName="c1text" refType="h" refFor="ch" refForName="circle1" fact="0.15"/>
              </dgm:constrLst>
            </dgm:if>
            <dgm:if name="Name11" axis="ch" ptType="node" func="cnt" op="equ" val="4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2796"/>
                <dgm:constr type="h" for="ch" forName="c1text" refType="h" refFor="ch" refForName="circle1" fact="0.15"/>
              </dgm:constrLst>
            </dgm:if>
            <dgm:if name="Name12" axis="ch" ptType="node" func="cnt" op="gte" val="5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"/>
                <dgm:constr type="w" for="ch" forName="c1text" refType="w" refFor="ch" refForName="circle1" fact="0.375"/>
                <dgm:constr type="h" for="ch" forName="c1text" refType="h" refFor="ch" refForName="circle1" fact="0.1"/>
              </dgm:constrLst>
            </dgm:if>
            <dgm:else name="Name13"/>
          </dgm:choose>
          <dgm:ruleLst/>
          <dgm:layoutNode name="circle1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1 1" cnt="1 0"/>
            <dgm:constrLst>
              <dgm:constr type="h" refType="w"/>
            </dgm:constrLst>
            <dgm:ruleLst/>
          </dgm:layoutNode>
          <dgm:layoutNode name="c1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1 1" cnt="1 0"/>
            <dgm:constrLst/>
            <dgm:ruleLst>
              <dgm:rule type="primFontSz" val="5" fact="NaN" max="NaN"/>
            </dgm:ruleLst>
          </dgm:layoutNode>
        </dgm:layoutNode>
      </dgm:if>
      <dgm:else name="Name14"/>
    </dgm:choose>
    <dgm:choose name="Name15">
      <dgm:if name="Name16" axis="ch" ptType="node" func="cnt" op="gte" val="2">
        <dgm:layoutNode name="comp2">
          <dgm:alg type="composite"/>
          <dgm:shape xmlns:r="http://schemas.openxmlformats.org/officeDocument/2006/relationships" r:blip="">
            <dgm:adjLst/>
          </dgm:shape>
          <dgm:presOf/>
          <dgm:choose name="Name17">
            <dgm:if name="Name18" axis="ch" ptType="node" func="cnt" op="equ" val="2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5"/>
                <dgm:constr type="w" for="ch" forName="c2text" refType="w" refFor="ch" refForName="circle2" fact="0.70711"/>
                <dgm:constr type="h" for="ch" forName="c2text" refType="h" refFor="ch" refForName="circle2" fact="0.5"/>
              </dgm:constrLst>
            </dgm:if>
            <dgm:if name="Name19" axis="ch" ptType="node" func="cnt" op="equ" val="3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625"/>
                <dgm:constr type="w" for="ch" forName="c2text" refType="w" refFor="ch" refForName="circle2" fact="0.466"/>
                <dgm:constr type="h" for="ch" forName="c2text" refType="h" refFor="ch" refForName="circle2" fact="0.1875"/>
              </dgm:constrLst>
            </dgm:if>
            <dgm:if name="Name20" axis="ch" ptType="node" func="cnt" op="equ" val="4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"/>
                <dgm:constr type="w" for="ch" forName="c2text" refType="w" refFor="ch" refForName="circle2" fact="0.3495"/>
                <dgm:constr type="h" for="ch" forName="c2text" refType="h" refFor="ch" refForName="circle2" fact="0.18"/>
              </dgm:constrLst>
            </dgm:if>
            <dgm:if name="Name21" axis="ch" ptType="node" func="cnt" op="gte" val="5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15"/>
                <dgm:constr type="w" for="ch" forName="c2text" refType="w" refFor="ch" refForName="circle2" fact="0.43125"/>
                <dgm:constr type="h" for="ch" forName="c2text" refType="h" refFor="ch" refForName="circle2" fact="0.115"/>
              </dgm:constrLst>
            </dgm:if>
            <dgm:else name="Name22"/>
          </dgm:choose>
          <dgm:ruleLst/>
          <dgm:layoutNode name="circle2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2 1" cnt="1 0"/>
            <dgm:constrLst>
              <dgm:constr type="h" refType="w"/>
            </dgm:constrLst>
            <dgm:ruleLst/>
          </dgm:layoutNode>
          <dgm:layoutNode name="c2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2 1" cnt="1 0"/>
            <dgm:constrLst/>
            <dgm:ruleLst>
              <dgm:rule type="primFontSz" val="5" fact="NaN" max="NaN"/>
            </dgm:ruleLst>
          </dgm:layoutNode>
        </dgm:layoutNode>
      </dgm:if>
      <dgm:else name="Name23"/>
    </dgm:choose>
    <dgm:choose name="Name24">
      <dgm:if name="Name25" axis="ch" ptType="node" func="cnt" op="gte" val="3">
        <dgm:layoutNode name="comp3">
          <dgm:alg type="composite"/>
          <dgm:shape xmlns:r="http://schemas.openxmlformats.org/officeDocument/2006/relationships" r:blip="">
            <dgm:adjLst/>
          </dgm:shape>
          <dgm:presOf/>
          <dgm:choose name="Name26">
            <dgm:if name="Name27" axis="ch" ptType="node" func="cnt" op="equ" val="3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5"/>
                <dgm:constr type="w" for="ch" forName="c3text" refType="w" refFor="ch" refForName="circle3" fact="0.70711"/>
                <dgm:constr type="h" for="ch" forName="c3text" refType="h" refFor="ch" refForName="circle3" fact="0.5"/>
              </dgm:constrLst>
            </dgm:if>
            <dgm:if name="Name28" axis="ch" ptType="node" func="cnt" op="equ" val="4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875"/>
                <dgm:constr type="w" for="ch" forName="c3text" refType="w" refFor="ch" refForName="circle3" fact="0.466"/>
                <dgm:constr type="h" for="ch" forName="c3text" refType="h" refFor="ch" refForName="circle3" fact="0.225"/>
              </dgm:constrLst>
            </dgm:if>
            <dgm:if name="Name29" axis="ch" ptType="node" func="cnt" op="gte" val="5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38"/>
                <dgm:constr type="w" for="ch" forName="c3text" refType="w" refFor="ch" refForName="circle3" fact="0.5175"/>
                <dgm:constr type="h" for="ch" forName="c3text" refType="h" refFor="ch" refForName="circle3" fact="0.138"/>
              </dgm:constrLst>
            </dgm:if>
            <dgm:else name="Name30"/>
          </dgm:choose>
          <dgm:ruleLst/>
          <dgm:layoutNode name="circle3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3 1" cnt="1 0"/>
            <dgm:constrLst>
              <dgm:constr type="h" refType="w"/>
            </dgm:constrLst>
            <dgm:ruleLst/>
          </dgm:layoutNode>
          <dgm:layoutNode name="c3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3 1" cnt="1 0"/>
            <dgm:constrLst/>
            <dgm:ruleLst>
              <dgm:rule type="primFontSz" val="5" fact="NaN" max="NaN"/>
            </dgm:ruleLst>
          </dgm:layoutNode>
        </dgm:layoutNode>
      </dgm:if>
      <dgm:else name="Name31"/>
    </dgm:choose>
    <dgm:choose name="Name32">
      <dgm:if name="Name33" axis="ch" ptType="node" func="cnt" op="gte" val="4">
        <dgm:layoutNode name="comp4">
          <dgm:alg type="composite"/>
          <dgm:shape xmlns:r="http://schemas.openxmlformats.org/officeDocument/2006/relationships" r:blip="">
            <dgm:adjLst/>
          </dgm:shape>
          <dgm:presOf/>
          <dgm:choose name="Name34">
            <dgm:if name="Name35" axis="ch" ptType="node" func="cnt" op="equ" val="4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5"/>
                <dgm:constr type="w" for="ch" forName="c4text" refType="w" refFor="ch" refForName="circle4" fact="0.70711"/>
                <dgm:constr type="h" for="ch" forName="c4text" refType="h" refFor="ch" refForName="circle4" fact="0.5"/>
              </dgm:constrLst>
            </dgm:if>
            <dgm:if name="Name36" axis="ch" ptType="node" func="cnt" op="gte" val="5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18"/>
                <dgm:constr type="w" for="ch" forName="c4text" refType="w" refFor="ch" refForName="circle4" fact="0.54"/>
                <dgm:constr type="h" for="ch" forName="c4text" refType="h" refFor="ch" refForName="circle4" fact="0.18"/>
              </dgm:constrLst>
            </dgm:if>
            <dgm:else name="Name37"/>
          </dgm:choose>
          <dgm:ruleLst/>
          <dgm:layoutNode name="circle4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4 1" cnt="1 0"/>
            <dgm:constrLst>
              <dgm:constr type="h" refType="w"/>
            </dgm:constrLst>
            <dgm:ruleLst/>
          </dgm:layoutNode>
          <dgm:layoutNode name="c4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4 1" cnt="1 0"/>
            <dgm:constrLst/>
            <dgm:ruleLst>
              <dgm:rule type="primFontSz" val="5" fact="NaN" max="NaN"/>
            </dgm:ruleLst>
          </dgm:layoutNode>
        </dgm:layoutNode>
      </dgm:if>
      <dgm:else name="Name38"/>
    </dgm:choose>
    <dgm:choose name="Name39">
      <dgm:if name="Name40" axis="ch" ptType="node" func="cnt" op="gte" val="5">
        <dgm:layoutNode name="comp5">
          <dgm:alg type="composite"/>
          <dgm:shape xmlns:r="http://schemas.openxmlformats.org/officeDocument/2006/relationships" r:blip="">
            <dgm:adjLst/>
          </dgm:shape>
          <dgm:presOf/>
          <dgm:choose name="Name41">
            <dgm:if name="Name42" axis="ch" ptType="node" func="cnt" op="equ" val="5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5"/>
                <dgm:constr type="w" for="ch" forName="c5text" refType="w" refFor="ch" refForName="circle5" fact="0.70711"/>
                <dgm:constr type="h" for="ch" forName="c5text" refType="h" refFor="ch" refForName="circle5" fact="0.5"/>
              </dgm:constrLst>
            </dgm:if>
            <dgm:if name="Name43" axis="ch" ptType="node" func="cnt" op="gte" val="6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25"/>
                <dgm:constr type="w" for="ch" forName="c5text" refType="w" refFor="ch" refForName="circle5" fact="0.65"/>
                <dgm:constr type="h" for="ch" forName="c5text" refType="h" refFor="ch" refForName="circle5" fact="0.25"/>
              </dgm:constrLst>
            </dgm:if>
            <dgm:else name="Name44"/>
          </dgm:choose>
          <dgm:ruleLst/>
          <dgm:layoutNode name="circle5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5 1" cnt="1 0"/>
            <dgm:constrLst>
              <dgm:constr type="h" refType="w"/>
            </dgm:constrLst>
            <dgm:ruleLst/>
          </dgm:layoutNode>
          <dgm:layoutNode name="c5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5 1" cnt="1 0"/>
            <dgm:constrLst/>
            <dgm:ruleLst>
              <dgm:rule type="primFontSz" val="5" fact="NaN" max="NaN"/>
            </dgm:ruleLst>
          </dgm:layoutNode>
        </dgm:layoutNode>
      </dgm:if>
      <dgm:else name="Name45"/>
    </dgm:choose>
    <dgm:choose name="Name46">
      <dgm:if name="Name47" axis="ch" ptType="node" func="cnt" op="gte" val="6">
        <dgm:layoutNode name="comp6">
          <dgm:alg type="composite"/>
          <dgm:shape xmlns:r="http://schemas.openxmlformats.org/officeDocument/2006/relationships" r:blip="">
            <dgm:adjLst/>
          </dgm:shape>
          <dgm:presOf/>
          <dgm:choose name="Name48">
            <dgm:if name="Name49" axis="ch" ptType="node" func="cnt" op="equ" val="6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5"/>
                <dgm:constr type="w" for="ch" forName="c6text" refType="w" refFor="ch" refForName="circle6" fact="0.70711"/>
                <dgm:constr type="h" for="ch" forName="c6text" refType="h" refFor="ch" refForName="circle6" fact="0.5"/>
              </dgm:constrLst>
            </dgm:if>
            <dgm:if name="Name50" axis="ch" ptType="node" func="cnt" op="gte" val="7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27"/>
                <dgm:constr type="w" for="ch" forName="c6text" refType="w" refFor="ch" refForName="circle6" fact="0.68"/>
                <dgm:constr type="h" for="ch" forName="c6text" refType="h" refFor="ch" refForName="circle6" fact="0.241"/>
              </dgm:constrLst>
            </dgm:if>
            <dgm:else name="Name51"/>
          </dgm:choose>
          <dgm:ruleLst/>
          <dgm:layoutNode name="circle6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6 1" cnt="1 0"/>
            <dgm:constrLst>
              <dgm:constr type="h" refType="w"/>
            </dgm:constrLst>
            <dgm:ruleLst/>
          </dgm:layoutNode>
          <dgm:layoutNode name="c6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6 1" cnt="1 0"/>
            <dgm:constrLst/>
            <dgm:ruleLst>
              <dgm:rule type="primFontSz" val="5" fact="NaN" max="NaN"/>
            </dgm:ruleLst>
          </dgm:layoutNode>
        </dgm:layoutNode>
      </dgm:if>
      <dgm:else name="Name52"/>
    </dgm:choose>
    <dgm:choose name="Name53">
      <dgm:if name="Name54" axis="ch" ptType="node" func="cnt" op="gte" val="7">
        <dgm:layoutNode name="comp7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circle7" refType="w"/>
            <dgm:constr type="h" for="ch" forName="circle7" refType="h"/>
            <dgm:constr type="ctrX" for="ch" forName="circle7" refType="w" fact="0.5"/>
            <dgm:constr type="ctrY" for="ch" forName="circle7" refType="h" fact="0.5"/>
            <dgm:constr type="ctrX" for="ch" forName="c7text" refType="w" fact="0.5"/>
            <dgm:constr type="ctrY" for="ch" forName="c7text" refType="h" fact="0.5"/>
            <dgm:constr type="w" for="ch" forName="c7text" refType="w" refFor="ch" refForName="circle7" fact="0.70711"/>
            <dgm:constr type="h" for="ch" forName="c7text" refType="h" refFor="ch" refForName="circle7" fact="0.5"/>
          </dgm:constrLst>
          <dgm:ruleLst/>
          <dgm:layoutNode name="circle7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7 1" cnt="1 0"/>
            <dgm:constrLst>
              <dgm:constr type="h" refType="w"/>
            </dgm:constrLst>
            <dgm:ruleLst/>
          </dgm:layoutNode>
          <dgm:layoutNode name="c7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7 1" cnt="1 0"/>
            <dgm:constrLst/>
            <dgm:ruleLst>
              <dgm:rule type="primFontSz" val="5" fact="NaN" max="NaN"/>
            </dgm:ruleLst>
          </dgm:layoutNode>
        </dgm:layoutNode>
      </dgm:if>
      <dgm:else name="Name55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5">
  <dgm:title val=""/>
  <dgm:desc val=""/>
  <dgm:catLst>
    <dgm:cat type="cycle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fact="-1"/>
          <dgm:constr type="diam" for="ch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2"/>
                <dgm:constr type="endPad" refType="connDist" fact="0.2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48595D-823D-4C13-AB03-2A799184915F}" type="datetimeFigureOut">
              <a:rPr lang="es-ES" smtClean="0"/>
              <a:t>10/06/2015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2FE2D7-9CB1-440F-9723-FCBAAF2E974A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483753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3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r>
              <a:rPr lang="es-CR" sz="900" dirty="0" smtClean="0"/>
              <a:t>Crear:</a:t>
            </a:r>
            <a:r>
              <a:rPr lang="es-CR" sz="900" baseline="0" dirty="0" smtClean="0"/>
              <a:t> </a:t>
            </a:r>
            <a:r>
              <a:rPr lang="es-US" sz="900" baseline="0" dirty="0" smtClean="0"/>
              <a:t>Crear y organizar los contenidos fácilmente con la ayuda de la información descubierta</a:t>
            </a:r>
          </a:p>
          <a:p>
            <a:pPr marL="0" marR="0" indent="0" algn="l" defTabSz="9143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r>
              <a:rPr lang="es-US" sz="900" baseline="0" dirty="0" smtClean="0"/>
              <a:t>Controlar: Administrar políticas de contenidos, arquitectura de la información y taxonomía</a:t>
            </a:r>
          </a:p>
          <a:p>
            <a:pPr marL="0" marR="0" indent="0" algn="l" defTabSz="9143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r>
              <a:rPr lang="es-US" sz="900" baseline="0" dirty="0" smtClean="0"/>
              <a:t>Proteger: Reducir el riesgo y administrar cumplimiento de los documentos a través de políticas y manejo centralizado de registros</a:t>
            </a:r>
          </a:p>
          <a:p>
            <a:pPr marL="0" marR="0" indent="0" algn="l" defTabSz="9143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r>
              <a:rPr lang="es-US" sz="900" baseline="0" dirty="0" smtClean="0"/>
              <a:t>Almacenar: Brindar mecanismos robustos que permitan respaldar y recuperar información durante el ciclo de vida de los documentos.</a:t>
            </a:r>
          </a:p>
          <a:p>
            <a:pPr marL="0" marR="0" indent="0" algn="l" defTabSz="9143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r>
              <a:rPr lang="es-US" sz="900" baseline="0" dirty="0" smtClean="0"/>
              <a:t>Entregar: Brindar los procesos necesarios para que los usuarios de la organización puedan acceder a documentos, incluso documentos ya en desuso y que se encuentran archivados. </a:t>
            </a:r>
            <a:endParaRPr lang="es-CR" sz="1050" dirty="0" smtClean="0"/>
          </a:p>
          <a:p>
            <a:endParaRPr lang="es-CR" dirty="0"/>
          </a:p>
        </p:txBody>
      </p:sp>
    </p:spTree>
    <p:extLst>
      <p:ext uri="{BB962C8B-B14F-4D97-AF65-F5344CB8AC3E}">
        <p14:creationId xmlns:p14="http://schemas.microsoft.com/office/powerpoint/2010/main" val="31849316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E2560271-D2EF-4F05-8156-BD32B902ADCA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37150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UY" dirty="0"/>
          </a:p>
        </p:txBody>
      </p:sp>
    </p:spTree>
    <p:extLst>
      <p:ext uri="{BB962C8B-B14F-4D97-AF65-F5344CB8AC3E}">
        <p14:creationId xmlns:p14="http://schemas.microsoft.com/office/powerpoint/2010/main" val="96433742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2FE2D7-9CB1-440F-9723-FCBAAF2E974A}" type="slidenum">
              <a:rPr lang="es-ES" smtClean="0"/>
              <a:t>30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9792345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R" dirty="0" smtClean="0"/>
              <a:t>Estos</a:t>
            </a:r>
            <a:r>
              <a:rPr lang="es-CR" baseline="0" dirty="0" smtClean="0"/>
              <a:t> son los resultados de una encuesta realizada a entidades financieras en Norteamérica, donde se resaltan las áreas o procesos que mas se están gestionando para la erradicación del uso del papel:</a:t>
            </a:r>
          </a:p>
          <a:p>
            <a:endParaRPr lang="es-CR" baseline="0" dirty="0" smtClean="0"/>
          </a:p>
          <a:p>
            <a:r>
              <a:rPr lang="es-CR" baseline="0" dirty="0" smtClean="0"/>
              <a:t>Vemos que el proceso de depósitos es el mas avanzado a la fecha, seguido de los prestamos de clientes, prestamos comerciales, hipotecas, etc.</a:t>
            </a:r>
            <a:endParaRPr lang="es-CR" dirty="0"/>
          </a:p>
        </p:txBody>
      </p:sp>
    </p:spTree>
    <p:extLst>
      <p:ext uri="{BB962C8B-B14F-4D97-AF65-F5344CB8AC3E}">
        <p14:creationId xmlns:p14="http://schemas.microsoft.com/office/powerpoint/2010/main" val="182792630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2FE2D7-9CB1-440F-9723-FCBAAF2E974A}" type="slidenum">
              <a:rPr lang="es-ES" smtClean="0"/>
              <a:t>3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5512851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lvl="0"/>
            <a:r>
              <a:rPr lang="es-CR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CE </a:t>
            </a:r>
            <a:r>
              <a:rPr lang="es-CR" sz="12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olution</a:t>
            </a:r>
            <a:r>
              <a:rPr lang="es-CR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- ECM</a:t>
            </a:r>
          </a:p>
          <a:p>
            <a:pPr lvl="1"/>
            <a:r>
              <a:rPr lang="es-CR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. Gestión de Cambio (Físico a digital)</a:t>
            </a:r>
          </a:p>
          <a:p>
            <a:pPr marL="328070" lvl="2" indent="-115090">
              <a:buFont typeface="Wingdings" panose="05000000000000000000" pitchFamily="2" charset="2"/>
              <a:buChar char="Ø"/>
            </a:pPr>
            <a:r>
              <a:rPr lang="es-CR" sz="12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finición de Roles, y estructura de involucrados, plan de transferencia de conocimiento, estrategia de culturización </a:t>
            </a:r>
          </a:p>
          <a:p>
            <a:pPr lvl="1"/>
            <a:r>
              <a:rPr lang="es-CR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. Arquitectura de la Información</a:t>
            </a:r>
          </a:p>
          <a:p>
            <a:pPr marL="328070" lvl="2" indent="-115090">
              <a:buFont typeface="Wingdings" panose="05000000000000000000" pitchFamily="2" charset="2"/>
              <a:buChar char="Ø"/>
            </a:pPr>
            <a:r>
              <a:rPr lang="es-CR" sz="12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finición de estructuras y taxonomías del Gestor de Contenido, esquema de permisos y roles. Definición de </a:t>
            </a:r>
            <a:r>
              <a:rPr lang="es-CR" sz="1200" b="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etadata</a:t>
            </a:r>
            <a:r>
              <a:rPr lang="es-CR" sz="12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asociada los tipos de contenido identificados</a:t>
            </a:r>
          </a:p>
          <a:p>
            <a:pPr lvl="1"/>
            <a:r>
              <a:rPr lang="es-CR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. Arquitectura de la Infraestructura</a:t>
            </a:r>
          </a:p>
          <a:p>
            <a:pPr marL="328070" lvl="2" indent="-115090">
              <a:buFont typeface="Wingdings" panose="05000000000000000000" pitchFamily="2" charset="2"/>
              <a:buChar char="Ø"/>
            </a:pPr>
            <a:r>
              <a:rPr lang="es-CR" sz="12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iseño lógico y físico de los servidores, diseño de la plataforma de almacenamiento, procedimientos de respaldos y monitoreo de la solución</a:t>
            </a:r>
          </a:p>
          <a:p>
            <a:pPr lvl="1"/>
            <a:r>
              <a:rPr lang="es-CR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4. Diseño de la Solución</a:t>
            </a:r>
          </a:p>
          <a:p>
            <a:pPr marL="328070" lvl="2" indent="-115090">
              <a:buFont typeface="Wingdings" panose="05000000000000000000" pitchFamily="2" charset="2"/>
              <a:buChar char="Ø"/>
            </a:pPr>
            <a:r>
              <a:rPr lang="es-CR" sz="12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texto normativo y legal, firma digital, integración con sistemas internos de la organización, Establecimiento de políticas de retención y asociaciones entre las tipologías documentales y las políticas de retención.</a:t>
            </a:r>
          </a:p>
          <a:p>
            <a:pPr lvl="1"/>
            <a:r>
              <a:rPr lang="es-CR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5. Implementación y puesta en marcha</a:t>
            </a:r>
          </a:p>
          <a:p>
            <a:pPr marL="328070" lvl="2" indent="-115090">
              <a:buFont typeface="Wingdings" panose="05000000000000000000" pitchFamily="2" charset="2"/>
              <a:buChar char="Ø"/>
            </a:pPr>
            <a:r>
              <a:rPr lang="es-CR" sz="12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 el ambiente de producción del cliente</a:t>
            </a:r>
          </a:p>
          <a:p>
            <a:endParaRPr lang="es-CR" dirty="0"/>
          </a:p>
        </p:txBody>
      </p:sp>
    </p:spTree>
    <p:extLst>
      <p:ext uri="{BB962C8B-B14F-4D97-AF65-F5344CB8AC3E}">
        <p14:creationId xmlns:p14="http://schemas.microsoft.com/office/powerpoint/2010/main" val="18869962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2FE2D7-9CB1-440F-9723-FCBAAF2E974A}" type="slidenum">
              <a:rPr lang="es-ES" smtClean="0"/>
              <a:t>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102804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US" dirty="0" smtClean="0"/>
              <a:t>http://es.wikipedia.org/wiki/Oficina_sin_papel</a:t>
            </a:r>
          </a:p>
          <a:p>
            <a:r>
              <a:rPr lang="es-US" dirty="0" smtClean="0"/>
              <a:t>http://en.wikipedia.org/wiki/Paperless_office</a:t>
            </a:r>
          </a:p>
          <a:p>
            <a:endParaRPr lang="es-E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gunas personas usan lo que han impreso sólo por un minuto</a:t>
            </a:r>
          </a:p>
          <a:p>
            <a:endParaRPr lang="es-US" dirty="0" smtClean="0"/>
          </a:p>
          <a:p>
            <a:r>
              <a:rPr lang="en-US" dirty="0" smtClean="0"/>
              <a:t> C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sto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 la compra de papel de impresión, fax / copiadora equipos y materiales de construcción, la distribución, los costos de correo, servicios de mensajería, material de archivo y gabinetes, espacio de almacenamiento, así como el tiempo del personal pasaron en el manejo, administración y presentación en papel.</a:t>
            </a:r>
          </a:p>
          <a:p>
            <a:endParaRPr lang="es-E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s-US" dirty="0" smtClean="0"/>
              <a:t>El</a:t>
            </a:r>
            <a:r>
              <a:rPr lang="es-US" baseline="0" dirty="0" smtClean="0"/>
              <a:t> costo para las empresas para el manejo del papel supera las 30 veces el valor del mismo</a:t>
            </a:r>
            <a:endParaRPr lang="es-US" dirty="0" smtClean="0"/>
          </a:p>
          <a:p>
            <a:endParaRPr lang="es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2FE2D7-9CB1-440F-9723-FCBAAF2E974A}" type="slidenum">
              <a:rPr lang="es-ES" smtClean="0"/>
              <a:t>8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035442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2FE2D7-9CB1-440F-9723-FCBAAF2E974A}" type="slidenum">
              <a:rPr lang="es-ES" smtClean="0"/>
              <a:t>9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689924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2FE2D7-9CB1-440F-9723-FCBAAF2E974A}" type="slidenum">
              <a:rPr lang="es-ES" smtClean="0"/>
              <a:t>10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152204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rtl="0" eaLnBrk="1" fontAlgn="t" latinLnBrk="0" hangingPunct="1"/>
            <a:r>
              <a:rPr lang="en-US" sz="1000" dirty="0" err="1"/>
              <a:t>Fase</a:t>
            </a:r>
            <a:r>
              <a:rPr lang="en-US" sz="1000" dirty="0"/>
              <a:t> 1: </a:t>
            </a:r>
            <a:r>
              <a:rPr lang="en-US" sz="1000" dirty="0" err="1"/>
              <a:t>Análisis</a:t>
            </a:r>
            <a:r>
              <a:rPr lang="en-US" sz="1000" dirty="0"/>
              <a:t> de </a:t>
            </a:r>
            <a:r>
              <a:rPr lang="en-US" sz="1000" dirty="0" err="1"/>
              <a:t>Negocio</a:t>
            </a:r>
            <a:endParaRPr lang="es-UY" sz="1000" dirty="0"/>
          </a:p>
          <a:p>
            <a:pPr rtl="0" eaLnBrk="1" fontAlgn="t" latinLnBrk="0" hangingPunct="1"/>
            <a:r>
              <a:rPr lang="es-CR" sz="1000" dirty="0"/>
              <a:t>Mapa general de arquitectura con diferentes secciones y subsecciones.</a:t>
            </a:r>
            <a:endParaRPr lang="es-UY" sz="1000" dirty="0"/>
          </a:p>
          <a:p>
            <a:pPr rtl="0" eaLnBrk="1" fontAlgn="t" latinLnBrk="0" hangingPunct="1"/>
            <a:r>
              <a:rPr lang="es-CR" sz="1000" dirty="0"/>
              <a:t>Vamos a ir creando el ECM de cada sitio.</a:t>
            </a:r>
            <a:endParaRPr lang="es-UY" sz="1000" dirty="0"/>
          </a:p>
          <a:p>
            <a:pPr rtl="0" eaLnBrk="1" fontAlgn="t" latinLnBrk="0" hangingPunct="1"/>
            <a:r>
              <a:rPr lang="es-CR" sz="1000" dirty="0"/>
              <a:t>Comenzamos con los sitios mas sencillos.</a:t>
            </a:r>
            <a:endParaRPr lang="es-UY" sz="1000" dirty="0"/>
          </a:p>
          <a:p>
            <a:pPr rtl="0" eaLnBrk="1" fontAlgn="t" latinLnBrk="0" hangingPunct="1"/>
            <a:r>
              <a:rPr lang="es-CR" sz="1000" dirty="0"/>
              <a:t>Entregables de la etapa: documento en donde quedan bien definidas todas las secciones y subsecciones de la organización.</a:t>
            </a:r>
            <a:endParaRPr lang="es-UY" sz="1000" dirty="0"/>
          </a:p>
          <a:p>
            <a:pPr rtl="0" eaLnBrk="1" fontAlgn="t" latinLnBrk="0" hangingPunct="1"/>
            <a:r>
              <a:rPr lang="en-US" sz="1000" dirty="0" err="1"/>
              <a:t>Fase</a:t>
            </a:r>
            <a:r>
              <a:rPr lang="en-US" sz="1000" dirty="0"/>
              <a:t> 2: </a:t>
            </a:r>
            <a:r>
              <a:rPr lang="en-US" sz="1000" dirty="0" err="1"/>
              <a:t>Definición</a:t>
            </a:r>
            <a:r>
              <a:rPr lang="en-US" sz="1000" dirty="0"/>
              <a:t> de la </a:t>
            </a:r>
            <a:r>
              <a:rPr lang="en-US" sz="1000" dirty="0" err="1"/>
              <a:t>Arquitectura</a:t>
            </a:r>
            <a:r>
              <a:rPr lang="en-US" sz="1000" dirty="0"/>
              <a:t> de </a:t>
            </a:r>
            <a:r>
              <a:rPr lang="en-US" sz="1000" dirty="0" err="1"/>
              <a:t>Información</a:t>
            </a:r>
            <a:endParaRPr lang="es-UY" sz="1000" dirty="0"/>
          </a:p>
          <a:p>
            <a:pPr rtl="0" eaLnBrk="1" fontAlgn="t" latinLnBrk="0" hangingPunct="1"/>
            <a:r>
              <a:rPr lang="en-US" sz="1000" dirty="0" err="1"/>
              <a:t>Indexación</a:t>
            </a:r>
            <a:endParaRPr lang="es-UY" sz="1000" dirty="0"/>
          </a:p>
          <a:p>
            <a:pPr rtl="0" eaLnBrk="1" fontAlgn="t" latinLnBrk="0" hangingPunct="1"/>
            <a:r>
              <a:rPr lang="en-US" sz="1000" dirty="0" err="1"/>
              <a:t>Clasificación</a:t>
            </a:r>
            <a:endParaRPr lang="es-UY" sz="1000" dirty="0"/>
          </a:p>
          <a:p>
            <a:pPr rtl="0" eaLnBrk="1" fontAlgn="t" latinLnBrk="0" hangingPunct="1"/>
            <a:r>
              <a:rPr lang="en-US" sz="1000" dirty="0" err="1"/>
              <a:t>Catalogación</a:t>
            </a:r>
            <a:endParaRPr lang="es-UY" sz="1000" dirty="0"/>
          </a:p>
          <a:p>
            <a:pPr rtl="0" eaLnBrk="1" fontAlgn="t" latinLnBrk="0" hangingPunct="1"/>
            <a:r>
              <a:rPr lang="en-US" sz="1000" dirty="0" err="1"/>
              <a:t>Taxonomía</a:t>
            </a:r>
            <a:endParaRPr lang="es-UY" sz="1000" dirty="0"/>
          </a:p>
          <a:p>
            <a:pPr rtl="0" eaLnBrk="1" fontAlgn="t" latinLnBrk="0" hangingPunct="1"/>
            <a:r>
              <a:rPr lang="en-US" sz="1000" dirty="0"/>
              <a:t>Metadata</a:t>
            </a:r>
            <a:endParaRPr lang="es-UY" sz="1000" dirty="0"/>
          </a:p>
          <a:p>
            <a:pPr rtl="0" eaLnBrk="1" fontAlgn="t" latinLnBrk="0" hangingPunct="1"/>
            <a:r>
              <a:rPr lang="en-US" sz="1000" dirty="0" err="1"/>
              <a:t>Relaciones</a:t>
            </a:r>
            <a:endParaRPr lang="es-UY" sz="1000" dirty="0"/>
          </a:p>
          <a:p>
            <a:pPr rtl="0" eaLnBrk="1" fontAlgn="t" latinLnBrk="0" hangingPunct="1"/>
            <a:r>
              <a:rPr lang="en-US" sz="1000" dirty="0" err="1"/>
              <a:t>Experiencia</a:t>
            </a:r>
            <a:r>
              <a:rPr lang="en-US" sz="1000" dirty="0"/>
              <a:t> al </a:t>
            </a:r>
            <a:r>
              <a:rPr lang="en-US" sz="1000" dirty="0" err="1"/>
              <a:t>usuario</a:t>
            </a:r>
            <a:endParaRPr lang="es-UY" sz="1000" dirty="0"/>
          </a:p>
          <a:p>
            <a:pPr rtl="0" eaLnBrk="1" fontAlgn="t" latinLnBrk="0" hangingPunct="1"/>
            <a:r>
              <a:rPr lang="en-US" sz="1000" dirty="0" err="1"/>
              <a:t>Políticas</a:t>
            </a:r>
            <a:endParaRPr lang="es-UY" sz="1000" dirty="0"/>
          </a:p>
          <a:p>
            <a:pPr rtl="0" eaLnBrk="1" fontAlgn="t" latinLnBrk="0" hangingPunct="1"/>
            <a:r>
              <a:rPr lang="en-US" sz="1000" dirty="0" err="1"/>
              <a:t>Procesos</a:t>
            </a:r>
            <a:endParaRPr lang="es-UY" sz="1000" dirty="0"/>
          </a:p>
          <a:p>
            <a:pPr rtl="0" eaLnBrk="1" fontAlgn="t" latinLnBrk="0" hangingPunct="1"/>
            <a:r>
              <a:rPr lang="en-US" sz="1000" dirty="0" err="1"/>
              <a:t>Fase</a:t>
            </a:r>
            <a:r>
              <a:rPr lang="en-US" sz="1000" dirty="0"/>
              <a:t> 2: </a:t>
            </a:r>
            <a:r>
              <a:rPr lang="en-US" sz="1000" dirty="0" err="1"/>
              <a:t>Seguridad</a:t>
            </a:r>
            <a:r>
              <a:rPr lang="en-US" sz="1000" dirty="0"/>
              <a:t> de la </a:t>
            </a:r>
            <a:r>
              <a:rPr lang="en-US" sz="1000" dirty="0" err="1"/>
              <a:t>Información</a:t>
            </a:r>
            <a:endParaRPr lang="es-UY" sz="1000" dirty="0"/>
          </a:p>
          <a:p>
            <a:pPr rtl="0" eaLnBrk="1" fontAlgn="t" latinLnBrk="0" hangingPunct="1"/>
            <a:r>
              <a:rPr lang="en-US" sz="1000" dirty="0"/>
              <a:t>Roles</a:t>
            </a:r>
            <a:endParaRPr lang="es-UY" sz="1000" dirty="0"/>
          </a:p>
          <a:p>
            <a:pPr rtl="0" eaLnBrk="1" fontAlgn="t" latinLnBrk="0" hangingPunct="1"/>
            <a:r>
              <a:rPr lang="en-US" sz="1000" dirty="0" err="1"/>
              <a:t>Permisos</a:t>
            </a:r>
            <a:r>
              <a:rPr lang="es-CR" sz="1000" dirty="0"/>
              <a:t> de acceso, uso, alteración, modificación, divulgación</a:t>
            </a:r>
            <a:endParaRPr lang="es-UY" sz="1000" dirty="0"/>
          </a:p>
          <a:p>
            <a:pPr rtl="0" eaLnBrk="1" fontAlgn="t" latinLnBrk="0" hangingPunct="1"/>
            <a:r>
              <a:rPr lang="en-US" sz="1000" dirty="0"/>
              <a:t>Auditoría</a:t>
            </a:r>
            <a:endParaRPr lang="es-UY" sz="1000" dirty="0"/>
          </a:p>
          <a:p>
            <a:pPr rtl="0" eaLnBrk="1" fontAlgn="t" latinLnBrk="0" hangingPunct="1"/>
            <a:r>
              <a:rPr lang="en-US" sz="1000" dirty="0" err="1"/>
              <a:t>Fase</a:t>
            </a:r>
            <a:r>
              <a:rPr lang="en-US" sz="1000" dirty="0"/>
              <a:t> 2:Portal de ECM</a:t>
            </a:r>
            <a:endParaRPr lang="es-UY" sz="1000" dirty="0"/>
          </a:p>
          <a:p>
            <a:pPr rtl="0" eaLnBrk="1" fontAlgn="t" latinLnBrk="0" hangingPunct="1"/>
            <a:r>
              <a:rPr lang="en-US" sz="1000" dirty="0" err="1"/>
              <a:t>Visión</a:t>
            </a:r>
            <a:r>
              <a:rPr lang="en-US" sz="1000" dirty="0"/>
              <a:t> y </a:t>
            </a:r>
            <a:r>
              <a:rPr lang="en-US" sz="1000" dirty="0" err="1"/>
              <a:t>alcances</a:t>
            </a:r>
            <a:r>
              <a:rPr lang="en-US" sz="1000" dirty="0"/>
              <a:t>, </a:t>
            </a:r>
            <a:r>
              <a:rPr lang="en-US" sz="1000" dirty="0" err="1"/>
              <a:t>diseño</a:t>
            </a:r>
            <a:r>
              <a:rPr lang="en-US" sz="1000" dirty="0"/>
              <a:t>, </a:t>
            </a:r>
            <a:r>
              <a:rPr lang="en-US" sz="1000" dirty="0" err="1"/>
              <a:t>desarrollo</a:t>
            </a:r>
            <a:r>
              <a:rPr lang="en-US" sz="1000" dirty="0"/>
              <a:t>, </a:t>
            </a:r>
            <a:r>
              <a:rPr lang="en-US" sz="1000" dirty="0" err="1"/>
              <a:t>implementación</a:t>
            </a:r>
            <a:r>
              <a:rPr lang="en-US" sz="1000" dirty="0"/>
              <a:t> y </a:t>
            </a:r>
            <a:r>
              <a:rPr lang="en-US" sz="1000" dirty="0" err="1"/>
              <a:t>operación</a:t>
            </a:r>
            <a:endParaRPr lang="es-UY" sz="1000" dirty="0"/>
          </a:p>
          <a:p>
            <a:pPr rtl="0" eaLnBrk="1" fontAlgn="t" latinLnBrk="0" hangingPunct="1"/>
            <a:r>
              <a:rPr lang="en-US" sz="1000" dirty="0" err="1"/>
              <a:t>Fase</a:t>
            </a:r>
            <a:r>
              <a:rPr lang="en-US" sz="1000" dirty="0"/>
              <a:t> 3: </a:t>
            </a:r>
            <a:r>
              <a:rPr lang="en-US" sz="1000" dirty="0" err="1"/>
              <a:t>Componente</a:t>
            </a:r>
            <a:r>
              <a:rPr lang="en-US" sz="1000" dirty="0"/>
              <a:t> de BI</a:t>
            </a:r>
            <a:endParaRPr lang="es-UY" sz="1000" dirty="0"/>
          </a:p>
          <a:p>
            <a:pPr rtl="0" eaLnBrk="1" fontAlgn="auto" latinLnBrk="0" hangingPunct="1"/>
            <a:r>
              <a:rPr lang="en-US" sz="1000" dirty="0" err="1"/>
              <a:t>Visión</a:t>
            </a:r>
            <a:r>
              <a:rPr lang="en-US" sz="1000" dirty="0"/>
              <a:t> y </a:t>
            </a:r>
            <a:r>
              <a:rPr lang="en-US" sz="1000" dirty="0" err="1"/>
              <a:t>alcances</a:t>
            </a:r>
            <a:r>
              <a:rPr lang="en-US" sz="1000" dirty="0"/>
              <a:t>, </a:t>
            </a:r>
            <a:r>
              <a:rPr lang="en-US" sz="1000" dirty="0" err="1"/>
              <a:t>diseño</a:t>
            </a:r>
            <a:r>
              <a:rPr lang="en-US" sz="1000" dirty="0"/>
              <a:t>, </a:t>
            </a:r>
            <a:r>
              <a:rPr lang="en-US" sz="1000" dirty="0" err="1"/>
              <a:t>desarrollo</a:t>
            </a:r>
            <a:r>
              <a:rPr lang="en-US" sz="1000" dirty="0"/>
              <a:t>, </a:t>
            </a:r>
            <a:r>
              <a:rPr lang="en-US" sz="1000" dirty="0" err="1"/>
              <a:t>implementación</a:t>
            </a:r>
            <a:r>
              <a:rPr lang="en-US" sz="1000" dirty="0"/>
              <a:t> y </a:t>
            </a:r>
            <a:r>
              <a:rPr lang="en-US" sz="1000" dirty="0" err="1"/>
              <a:t>operación</a:t>
            </a:r>
            <a:endParaRPr lang="es-UY" sz="1000" dirty="0"/>
          </a:p>
        </p:txBody>
      </p:sp>
    </p:spTree>
    <p:extLst>
      <p:ext uri="{BB962C8B-B14F-4D97-AF65-F5344CB8AC3E}">
        <p14:creationId xmlns:p14="http://schemas.microsoft.com/office/powerpoint/2010/main" val="11176596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2FE2D7-9CB1-440F-9723-FCBAAF2E974A}" type="slidenum">
              <a:rPr lang="es-ES" smtClean="0"/>
              <a:t>1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868243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2FE2D7-9CB1-440F-9723-FCBAAF2E974A}" type="slidenum">
              <a:rPr lang="es-ES" smtClean="0"/>
              <a:t>1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561874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2FE2D7-9CB1-440F-9723-FCBAAF2E974A}" type="slidenum">
              <a:rPr lang="es-ES" smtClean="0"/>
              <a:t>1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873403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unch">
    <p:bg>
      <p:bgPr>
        <a:gradFill>
          <a:gsLst>
            <a:gs pos="40000">
              <a:srgbClr val="0594FF"/>
            </a:gs>
            <a:gs pos="0">
              <a:srgbClr val="0594FF"/>
            </a:gs>
            <a:gs pos="100000">
              <a:srgbClr val="0072C5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9240" y="3292949"/>
            <a:ext cx="3110219" cy="4448071"/>
          </a:xfrm>
          <a:prstGeom prst="rect">
            <a:avLst/>
          </a:prstGeom>
        </p:spPr>
      </p:pic>
      <p:pic>
        <p:nvPicPr>
          <p:cNvPr id="3" name="Imagen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1521" y="1030977"/>
            <a:ext cx="8128958" cy="2709652"/>
          </a:xfrm>
          <a:prstGeom prst="rect">
            <a:avLst/>
          </a:prstGeom>
          <a:effectLst>
            <a:glow rad="508000">
              <a:schemeClr val="bg1">
                <a:alpha val="60000"/>
              </a:schemeClr>
            </a:glow>
          </a:effectLst>
        </p:spPr>
      </p:pic>
      <p:sp>
        <p:nvSpPr>
          <p:cNvPr id="12" name="CuadroTexto 11"/>
          <p:cNvSpPr txBox="1"/>
          <p:nvPr userDrawn="1"/>
        </p:nvSpPr>
        <p:spPr>
          <a:xfrm>
            <a:off x="3060441" y="5516984"/>
            <a:ext cx="890140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5400" dirty="0" smtClean="0">
                <a:solidFill>
                  <a:schemeClr val="bg1"/>
                </a:solidFill>
                <a:latin typeface="Rabiohead" panose="00000400000000000000" pitchFamily="2" charset="0"/>
              </a:rPr>
              <a:t>Madrid, 9 y 10</a:t>
            </a:r>
            <a:r>
              <a:rPr lang="en-US" sz="5400" baseline="0" dirty="0" smtClean="0">
                <a:solidFill>
                  <a:schemeClr val="bg1"/>
                </a:solidFill>
                <a:latin typeface="Rabiohead" panose="00000400000000000000" pitchFamily="2" charset="0"/>
              </a:rPr>
              <a:t> de </a:t>
            </a:r>
            <a:r>
              <a:rPr lang="en-US" sz="5400" baseline="0" dirty="0" err="1" smtClean="0">
                <a:solidFill>
                  <a:schemeClr val="bg1"/>
                </a:solidFill>
                <a:latin typeface="Rabiohead" panose="00000400000000000000" pitchFamily="2" charset="0"/>
              </a:rPr>
              <a:t>junio</a:t>
            </a:r>
            <a:r>
              <a:rPr lang="en-US" sz="5400" baseline="0" dirty="0" smtClean="0">
                <a:solidFill>
                  <a:schemeClr val="bg1"/>
                </a:solidFill>
                <a:latin typeface="Rabiohead" panose="00000400000000000000" pitchFamily="2" charset="0"/>
              </a:rPr>
              <a:t> de 2015</a:t>
            </a:r>
            <a:endParaRPr lang="es-ES" sz="5400" dirty="0">
              <a:solidFill>
                <a:schemeClr val="bg1"/>
              </a:solidFill>
              <a:latin typeface="Rabiohead" panose="000004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9364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rippl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250"/>
                            </p:stCondLst>
                            <p:childTnLst>
                              <p:par>
                                <p:cTn id="10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 mod="1"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thor 2">
    <p:bg>
      <p:bgPr>
        <a:gradFill flip="none" rotWithShape="1">
          <a:gsLst>
            <a:gs pos="40000">
              <a:srgbClr val="0384E4"/>
            </a:gs>
            <a:gs pos="0">
              <a:srgbClr val="0594FF"/>
            </a:gs>
            <a:gs pos="100000">
              <a:srgbClr val="0072C5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8339" y="145313"/>
            <a:ext cx="3109515" cy="1036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0966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29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ponsors">
    <p:bg>
      <p:bgPr>
        <a:gradFill>
          <a:gsLst>
            <a:gs pos="40000">
              <a:srgbClr val="0384E4"/>
            </a:gs>
            <a:gs pos="0">
              <a:srgbClr val="0594FF"/>
            </a:gs>
            <a:gs pos="100000">
              <a:srgbClr val="0072C5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402"/>
          <a:stretch/>
        </p:blipFill>
        <p:spPr>
          <a:xfrm>
            <a:off x="1330422" y="256327"/>
            <a:ext cx="9531156" cy="6345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5456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10" userDrawn="1">
          <p15:clr>
            <a:srgbClr val="FBAE40"/>
          </p15:clr>
        </p15:guide>
        <p15:guide id="4" pos="37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ponsors-Fin">
    <p:bg>
      <p:bgPr>
        <a:gradFill>
          <a:gsLst>
            <a:gs pos="40000">
              <a:srgbClr val="0384E4"/>
            </a:gs>
            <a:gs pos="0">
              <a:srgbClr val="0594FF"/>
            </a:gs>
            <a:gs pos="100000">
              <a:srgbClr val="0072C5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381"/>
          <a:stretch/>
        </p:blipFill>
        <p:spPr>
          <a:xfrm>
            <a:off x="2272267" y="1705707"/>
            <a:ext cx="7647466" cy="5150618"/>
          </a:xfrm>
          <a:prstGeom prst="rect">
            <a:avLst/>
          </a:prstGeom>
        </p:spPr>
      </p:pic>
      <p:pic>
        <p:nvPicPr>
          <p:cNvPr id="3" name="Imagen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1845" y="126358"/>
            <a:ext cx="4828310" cy="1609436"/>
          </a:xfrm>
          <a:prstGeom prst="rect">
            <a:avLst/>
          </a:prstGeom>
          <a:effectLst>
            <a:glow rad="508000">
              <a:schemeClr val="bg1">
                <a:alpha val="6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1907114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10">
          <p15:clr>
            <a:srgbClr val="FBAE40"/>
          </p15:clr>
        </p15:guide>
        <p15:guide id="4" pos="37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520836" y="6399557"/>
            <a:ext cx="560832" cy="219456"/>
          </a:xfrm>
          <a:prstGeom prst="rect">
            <a:avLst/>
          </a:prstGeom>
        </p:spPr>
        <p:txBody>
          <a:bodyPr lIns="121899" tIns="60949" rIns="121899" bIns="60949" anchor="ctr"/>
          <a:lstStyle>
            <a:lvl1pPr algn="l">
              <a:defRPr sz="160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1pPr>
          </a:lstStyle>
          <a:p>
            <a:fld id="{727B4C2D-45E2-4621-8491-2995EB46A674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2915" y="6021143"/>
            <a:ext cx="1763727" cy="813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153109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74" t="2554" b="36337"/>
          <a:stretch/>
        </p:blipFill>
        <p:spPr bwMode="auto">
          <a:xfrm>
            <a:off x="-1588" y="-2"/>
            <a:ext cx="7545765" cy="6858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0610" y="562457"/>
            <a:ext cx="10746999" cy="609398"/>
          </a:xfrm>
        </p:spPr>
        <p:txBody>
          <a:bodyPr anchor="b" anchorCtr="0">
            <a:noAutofit/>
          </a:bodyPr>
          <a:lstStyle>
            <a:lvl1pPr>
              <a:defRPr sz="4000">
                <a:solidFill>
                  <a:srgbClr val="0072C6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59150" y="1524000"/>
            <a:ext cx="10746999" cy="1775871"/>
          </a:xfrm>
        </p:spPr>
        <p:txBody>
          <a:bodyPr/>
          <a:lstStyle>
            <a:lvl1pPr marL="406400" indent="-406400">
              <a:lnSpc>
                <a:spcPct val="90000"/>
              </a:lnSpc>
              <a:defRPr sz="2800">
                <a:latin typeface="+mn-lt"/>
              </a:defRPr>
            </a:lvl1pPr>
            <a:lvl2pPr marL="855663" indent="-395288">
              <a:lnSpc>
                <a:spcPct val="90000"/>
              </a:lnSpc>
              <a:defRPr sz="2400">
                <a:gradFill>
                  <a:gsLst>
                    <a:gs pos="0">
                      <a:schemeClr val="tx1"/>
                    </a:gs>
                    <a:gs pos="86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2pPr>
            <a:lvl3pPr marL="1204913" indent="-349250">
              <a:lnSpc>
                <a:spcPct val="90000"/>
              </a:lnSpc>
              <a:defRPr sz="2000">
                <a:latin typeface="+mn-lt"/>
              </a:defRPr>
            </a:lvl3pPr>
            <a:lvl4pPr marL="1538288" indent="-279400">
              <a:lnSpc>
                <a:spcPct val="90000"/>
              </a:lnSpc>
              <a:defRPr sz="1800">
                <a:latin typeface="+mn-lt"/>
              </a:defRPr>
            </a:lvl4pPr>
            <a:lvl5pPr marL="1887538" indent="-282575">
              <a:lnSpc>
                <a:spcPct val="90000"/>
              </a:lnSpc>
              <a:defRPr sz="1800">
                <a:latin typeface="+mn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0" y="1217029"/>
            <a:ext cx="11583829" cy="45719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33511593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, 2-color,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48" y="1447799"/>
            <a:ext cx="11151917" cy="197592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2400"/>
              </a:spcBef>
              <a:buNone/>
              <a:defRPr sz="400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0" indent="0">
              <a:buNone/>
              <a:defRPr sz="2000">
                <a:gradFill>
                  <a:gsLst>
                    <a:gs pos="100000">
                      <a:schemeClr val="bg2"/>
                    </a:gs>
                    <a:gs pos="6000">
                      <a:schemeClr val="bg2"/>
                    </a:gs>
                  </a:gsLst>
                  <a:lin ang="5400000" scaled="0"/>
                </a:gradFill>
              </a:defRPr>
            </a:lvl2pPr>
            <a:lvl3pPr marL="231775" indent="0">
              <a:buNone/>
              <a:defRPr sz="2000">
                <a:gradFill>
                  <a:gsLst>
                    <a:gs pos="100000">
                      <a:schemeClr val="bg2"/>
                    </a:gs>
                    <a:gs pos="6000">
                      <a:schemeClr val="bg2"/>
                    </a:gs>
                  </a:gsLst>
                  <a:lin ang="5400000" scaled="0"/>
                </a:gradFill>
              </a:defRPr>
            </a:lvl3pPr>
            <a:lvl4pPr marL="457200" indent="0">
              <a:buNone/>
              <a:defRPr sz="2000">
                <a:gradFill>
                  <a:gsLst>
                    <a:gs pos="100000">
                      <a:schemeClr val="bg2"/>
                    </a:gs>
                    <a:gs pos="6000">
                      <a:schemeClr val="bg2"/>
                    </a:gs>
                  </a:gsLst>
                  <a:lin ang="5400000" scaled="0"/>
                </a:gradFill>
              </a:defRPr>
            </a:lvl4pPr>
            <a:lvl5pPr marL="693738" indent="0">
              <a:buNone/>
              <a:defRPr sz="2000">
                <a:gradFill>
                  <a:gsLst>
                    <a:gs pos="100000">
                      <a:schemeClr val="bg2"/>
                    </a:gs>
                    <a:gs pos="6000">
                      <a:schemeClr val="bg2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304"/>
          <a:stretch/>
        </p:blipFill>
        <p:spPr bwMode="black">
          <a:xfrm>
            <a:off x="10305783" y="6142288"/>
            <a:ext cx="1600254" cy="54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36803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083450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Section">
    <p:bg>
      <p:bgPr>
        <a:gradFill flip="none" rotWithShape="1">
          <a:gsLst>
            <a:gs pos="40000">
              <a:srgbClr val="0384E4"/>
            </a:gs>
            <a:gs pos="0">
              <a:srgbClr val="0594FF"/>
            </a:gs>
            <a:gs pos="100000">
              <a:srgbClr val="0072C5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2766218"/>
            <a:ext cx="10515600" cy="1325563"/>
          </a:xfrm>
          <a:noFill/>
        </p:spPr>
        <p:txBody>
          <a:bodyPr>
            <a:noAutofit/>
          </a:bodyPr>
          <a:lstStyle>
            <a:lvl1pPr algn="ctr">
              <a:defRPr sz="6000" b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  <p:pic>
        <p:nvPicPr>
          <p:cNvPr id="4" name="Imagen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8339" y="145313"/>
            <a:ext cx="3109515" cy="1036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6700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29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  <p15:guide id="3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thor">
    <p:bg>
      <p:bgPr>
        <a:gradFill flip="none" rotWithShape="1">
          <a:gsLst>
            <a:gs pos="40000">
              <a:srgbClr val="0384E4"/>
            </a:gs>
            <a:gs pos="0">
              <a:srgbClr val="0594FF"/>
            </a:gs>
            <a:gs pos="100000">
              <a:srgbClr val="0072C5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8339" y="145313"/>
            <a:ext cx="3109515" cy="1036505"/>
          </a:xfrm>
          <a:prstGeom prst="rect">
            <a:avLst/>
          </a:prstGeom>
        </p:spPr>
      </p:pic>
      <p:sp>
        <p:nvSpPr>
          <p:cNvPr id="5" name="Marcador de posición de imagen 4"/>
          <p:cNvSpPr>
            <a:spLocks noGrp="1"/>
          </p:cNvSpPr>
          <p:nvPr>
            <p:ph type="pic" sz="quarter" idx="10"/>
          </p:nvPr>
        </p:nvSpPr>
        <p:spPr>
          <a:xfrm>
            <a:off x="766916" y="914399"/>
            <a:ext cx="2428568" cy="2458065"/>
          </a:xfrm>
          <a:prstGeom prst="ellipse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8" name="Título 7"/>
          <p:cNvSpPr>
            <a:spLocks noGrp="1"/>
          </p:cNvSpPr>
          <p:nvPr>
            <p:ph type="title" hasCustomPrompt="1"/>
          </p:nvPr>
        </p:nvSpPr>
        <p:spPr>
          <a:xfrm>
            <a:off x="3726425" y="1222382"/>
            <a:ext cx="8023123" cy="1687965"/>
          </a:xfrm>
        </p:spPr>
        <p:txBody>
          <a:bodyPr>
            <a:normAutofit/>
          </a:bodyPr>
          <a:lstStyle>
            <a:lvl1pPr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s-ES" dirty="0" err="1" smtClean="0"/>
              <a:t>Author</a:t>
            </a:r>
            <a:r>
              <a:rPr lang="es-ES" dirty="0" smtClean="0"/>
              <a:t> </a:t>
            </a:r>
            <a:r>
              <a:rPr lang="es-ES" dirty="0" err="1" smtClean="0"/>
              <a:t>name</a:t>
            </a:r>
            <a:r>
              <a:rPr lang="es-ES" dirty="0" smtClean="0"/>
              <a:t> </a:t>
            </a:r>
            <a:r>
              <a:rPr lang="es-ES" dirty="0" err="1" smtClean="0"/>
              <a:t>author</a:t>
            </a:r>
            <a:r>
              <a:rPr lang="es-ES" dirty="0" smtClean="0"/>
              <a:t> </a:t>
            </a:r>
            <a:r>
              <a:rPr lang="es-ES" dirty="0" err="1" smtClean="0"/>
              <a:t>name</a:t>
            </a:r>
            <a:endParaRPr lang="es-ES" dirty="0"/>
          </a:p>
        </p:txBody>
      </p:sp>
      <p:sp>
        <p:nvSpPr>
          <p:cNvPr id="22" name="Marcador de texto 20"/>
          <p:cNvSpPr>
            <a:spLocks noGrp="1"/>
          </p:cNvSpPr>
          <p:nvPr>
            <p:ph type="body" sz="quarter" idx="12" hasCustomPrompt="1"/>
          </p:nvPr>
        </p:nvSpPr>
        <p:spPr>
          <a:xfrm>
            <a:off x="3726424" y="3720293"/>
            <a:ext cx="8023225" cy="41433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s-ES" dirty="0" smtClean="0"/>
              <a:t>Job </a:t>
            </a:r>
            <a:r>
              <a:rPr lang="es-ES" dirty="0" err="1" smtClean="0"/>
              <a:t>title</a:t>
            </a:r>
            <a:endParaRPr lang="es-ES" dirty="0"/>
          </a:p>
        </p:txBody>
      </p:sp>
      <p:sp>
        <p:nvSpPr>
          <p:cNvPr id="23" name="Marcador de texto 20"/>
          <p:cNvSpPr>
            <a:spLocks noGrp="1"/>
          </p:cNvSpPr>
          <p:nvPr>
            <p:ph type="body" sz="quarter" idx="13" hasCustomPrompt="1"/>
          </p:nvPr>
        </p:nvSpPr>
        <p:spPr>
          <a:xfrm>
            <a:off x="3726424" y="4299179"/>
            <a:ext cx="8023225" cy="41433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s-ES" dirty="0" err="1" smtClean="0"/>
              <a:t>Award</a:t>
            </a:r>
            <a:endParaRPr lang="es-ES" dirty="0"/>
          </a:p>
        </p:txBody>
      </p:sp>
      <p:sp>
        <p:nvSpPr>
          <p:cNvPr id="24" name="Marcador de texto 20"/>
          <p:cNvSpPr>
            <a:spLocks noGrp="1"/>
          </p:cNvSpPr>
          <p:nvPr>
            <p:ph type="body" sz="quarter" idx="14" hasCustomPrompt="1"/>
          </p:nvPr>
        </p:nvSpPr>
        <p:spPr>
          <a:xfrm>
            <a:off x="3726323" y="3114392"/>
            <a:ext cx="8023225" cy="41433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s-ES" dirty="0" smtClean="0"/>
              <a:t>Company</a:t>
            </a:r>
            <a:endParaRPr lang="es-ES" dirty="0"/>
          </a:p>
        </p:txBody>
      </p:sp>
      <p:sp>
        <p:nvSpPr>
          <p:cNvPr id="25" name="Marcador de texto 20"/>
          <p:cNvSpPr>
            <a:spLocks noGrp="1"/>
          </p:cNvSpPr>
          <p:nvPr>
            <p:ph type="body" sz="quarter" idx="15" hasCustomPrompt="1"/>
          </p:nvPr>
        </p:nvSpPr>
        <p:spPr>
          <a:xfrm>
            <a:off x="3726322" y="4912702"/>
            <a:ext cx="8023225" cy="414338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dirty="0" smtClean="0"/>
              <a:t>Blog 1</a:t>
            </a:r>
            <a:endParaRPr lang="es-ES" dirty="0"/>
          </a:p>
        </p:txBody>
      </p:sp>
      <p:sp>
        <p:nvSpPr>
          <p:cNvPr id="26" name="Marcador de texto 20"/>
          <p:cNvSpPr>
            <a:spLocks noGrp="1"/>
          </p:cNvSpPr>
          <p:nvPr>
            <p:ph type="body" sz="quarter" idx="16" hasCustomPrompt="1"/>
          </p:nvPr>
        </p:nvSpPr>
        <p:spPr>
          <a:xfrm>
            <a:off x="3726321" y="5526225"/>
            <a:ext cx="8023225" cy="41433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s-ES" dirty="0" smtClean="0"/>
              <a:t>Blog 2</a:t>
            </a:r>
            <a:endParaRPr lang="es-ES" dirty="0"/>
          </a:p>
        </p:txBody>
      </p:sp>
      <p:sp>
        <p:nvSpPr>
          <p:cNvPr id="27" name="Marcador de texto 20"/>
          <p:cNvSpPr>
            <a:spLocks noGrp="1"/>
          </p:cNvSpPr>
          <p:nvPr>
            <p:ph type="body" sz="quarter" idx="17" hasCustomPrompt="1"/>
          </p:nvPr>
        </p:nvSpPr>
        <p:spPr>
          <a:xfrm>
            <a:off x="3726321" y="6139748"/>
            <a:ext cx="8023225" cy="414338"/>
          </a:xfr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  <a:latin typeface="Segoe UI "/>
                <a:cs typeface="Segoe UI Light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dirty="0" smtClean="0"/>
              <a:t>Twitter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623072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29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image on th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>
            <a:gsLst>
              <a:gs pos="40000">
                <a:srgbClr val="0388EB"/>
              </a:gs>
              <a:gs pos="0">
                <a:srgbClr val="0594FF"/>
              </a:gs>
              <a:gs pos="100000">
                <a:srgbClr val="0072C5"/>
              </a:gs>
            </a:gsLst>
            <a:path path="circle">
              <a:fillToRect l="50000" t="50000" r="50000" b="50000"/>
            </a:path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6" name="Título 5"/>
          <p:cNvSpPr>
            <a:spLocks noGrp="1"/>
          </p:cNvSpPr>
          <p:nvPr>
            <p:ph type="title"/>
          </p:nvPr>
        </p:nvSpPr>
        <p:spPr>
          <a:xfrm>
            <a:off x="578934" y="869796"/>
            <a:ext cx="4938132" cy="5096106"/>
          </a:xfrm>
        </p:spPr>
        <p:txBody>
          <a:bodyPr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  <p:sp>
        <p:nvSpPr>
          <p:cNvPr id="8" name="Marcador de posición de imagen 7"/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endParaRPr lang="es-ES"/>
          </a:p>
        </p:txBody>
      </p:sp>
      <p:pic>
        <p:nvPicPr>
          <p:cNvPr id="3" name="Imagen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276" y="102182"/>
            <a:ext cx="1996296" cy="665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0665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image on th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gradFill>
            <a:gsLst>
              <a:gs pos="40000">
                <a:srgbClr val="0388EB"/>
              </a:gs>
              <a:gs pos="0">
                <a:srgbClr val="0594FF"/>
              </a:gs>
              <a:gs pos="100000">
                <a:srgbClr val="0072C5"/>
              </a:gs>
            </a:gsLst>
            <a:path path="circle">
              <a:fillToRect l="50000" t="50000" r="50000" b="50000"/>
            </a:path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6" name="Título 5"/>
          <p:cNvSpPr>
            <a:spLocks noGrp="1"/>
          </p:cNvSpPr>
          <p:nvPr>
            <p:ph type="title"/>
          </p:nvPr>
        </p:nvSpPr>
        <p:spPr>
          <a:xfrm>
            <a:off x="6745558" y="880947"/>
            <a:ext cx="4938132" cy="5096106"/>
          </a:xfrm>
        </p:spPr>
        <p:txBody>
          <a:bodyPr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  <p:sp>
        <p:nvSpPr>
          <p:cNvPr id="7" name="Marcador de posición de imagen 6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endParaRPr lang="es-ES"/>
          </a:p>
        </p:txBody>
      </p:sp>
      <p:pic>
        <p:nvPicPr>
          <p:cNvPr id="8" name="Imagen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3895" y="107758"/>
            <a:ext cx="1996296" cy="665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9168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9"/>
          <p:cNvSpPr/>
          <p:nvPr userDrawn="1"/>
        </p:nvSpPr>
        <p:spPr bwMode="gray">
          <a:xfrm>
            <a:off x="2451085" y="2072640"/>
            <a:ext cx="9301180" cy="228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04" tIns="45703" rIns="91404" bIns="4570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913788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4" name="Rectangle 14"/>
          <p:cNvSpPr/>
          <p:nvPr userDrawn="1"/>
        </p:nvSpPr>
        <p:spPr bwMode="gray">
          <a:xfrm>
            <a:off x="0" y="2072640"/>
            <a:ext cx="2286000" cy="2286000"/>
          </a:xfrm>
          <a:prstGeom prst="rect">
            <a:avLst/>
          </a:prstGeom>
          <a:solidFill>
            <a:srgbClr val="0072C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04" tIns="45703" rIns="91404" bIns="4570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913788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6" name="Título 5"/>
          <p:cNvSpPr>
            <a:spLocks noGrp="1"/>
          </p:cNvSpPr>
          <p:nvPr>
            <p:ph type="title" hasCustomPrompt="1"/>
          </p:nvPr>
        </p:nvSpPr>
        <p:spPr>
          <a:xfrm>
            <a:off x="2761891" y="2633873"/>
            <a:ext cx="8633603" cy="1075486"/>
          </a:xfrm>
        </p:spPr>
        <p:txBody>
          <a:bodyPr>
            <a:noAutofit/>
          </a:bodyPr>
          <a:lstStyle>
            <a:lvl1pPr>
              <a:defRPr lang="es-ES" sz="5400" b="0" kern="1200" cap="none" spc="-100" baseline="0" dirty="0" smtClean="0">
                <a:ln w="3175">
                  <a:noFill/>
                </a:ln>
                <a:solidFill>
                  <a:schemeClr val="tx1">
                    <a:lumMod val="50000"/>
                    <a:lumOff val="50000"/>
                    <a:alpha val="99000"/>
                  </a:schemeClr>
                </a:solidFill>
                <a:effectLst/>
                <a:latin typeface="Segoe UI Light" pitchFamily="34" charset="0"/>
                <a:ea typeface="+mn-ea"/>
                <a:cs typeface="Arial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s-ES" dirty="0" smtClean="0"/>
              <a:t>Título</a:t>
            </a:r>
            <a:endParaRPr lang="es-ES" dirty="0"/>
          </a:p>
        </p:txBody>
      </p:sp>
      <p:pic>
        <p:nvPicPr>
          <p:cNvPr id="8" name="Picture 8" descr="C:\Users\Jonahs\Dropbox\Projects SCOTT\MEET Windows Azure\source\Background\tile-icon-media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791" y="2558431"/>
            <a:ext cx="1314418" cy="1314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n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1211" y="112863"/>
            <a:ext cx="1998000" cy="66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4477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ub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Imagen 2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5372" cy="6858000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>
                <a:solidFill>
                  <a:srgbClr val="0072C5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 smtClean="0"/>
              <a:t>Haga clic para modificar el estilo de subtítulo del patrón</a:t>
            </a:r>
            <a:endParaRPr lang="es-ES" dirty="0"/>
          </a:p>
        </p:txBody>
      </p:sp>
      <p:sp>
        <p:nvSpPr>
          <p:cNvPr id="7" name="Triángulo rectángulo 6"/>
          <p:cNvSpPr/>
          <p:nvPr userDrawn="1"/>
        </p:nvSpPr>
        <p:spPr>
          <a:xfrm rot="10800000">
            <a:off x="10535477" y="0"/>
            <a:ext cx="1649895" cy="1649895"/>
          </a:xfrm>
          <a:prstGeom prst="rtTriangle">
            <a:avLst/>
          </a:prstGeom>
          <a:solidFill>
            <a:srgbClr val="0072C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8" name="Imagen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776" y="-59634"/>
            <a:ext cx="1086676" cy="1086676"/>
          </a:xfrm>
          <a:prstGeom prst="rect">
            <a:avLst/>
          </a:prstGeom>
        </p:spPr>
      </p:pic>
      <p:sp>
        <p:nvSpPr>
          <p:cNvPr id="4" name="Rectángulo 3"/>
          <p:cNvSpPr/>
          <p:nvPr userDrawn="1"/>
        </p:nvSpPr>
        <p:spPr>
          <a:xfrm>
            <a:off x="0" y="0"/>
            <a:ext cx="12192000" cy="112143"/>
          </a:xfrm>
          <a:prstGeom prst="rect">
            <a:avLst/>
          </a:prstGeom>
          <a:solidFill>
            <a:srgbClr val="0072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ln>
                <a:noFill/>
              </a:ln>
              <a:solidFill>
                <a:srgbClr val="0072C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5990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5372" cy="6858000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74641" y="365125"/>
            <a:ext cx="11079159" cy="1325563"/>
          </a:xfrm>
        </p:spPr>
        <p:txBody>
          <a:bodyPr/>
          <a:lstStyle>
            <a:lvl1pPr>
              <a:defRPr>
                <a:solidFill>
                  <a:srgbClr val="0072C5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  <p:sp>
        <p:nvSpPr>
          <p:cNvPr id="7" name="Triángulo rectángulo 6"/>
          <p:cNvSpPr/>
          <p:nvPr userDrawn="1"/>
        </p:nvSpPr>
        <p:spPr>
          <a:xfrm rot="10800000">
            <a:off x="10535477" y="0"/>
            <a:ext cx="1649895" cy="1649895"/>
          </a:xfrm>
          <a:prstGeom prst="rtTriangle">
            <a:avLst/>
          </a:prstGeom>
          <a:solidFill>
            <a:srgbClr val="0072C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8" name="Imagen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776" y="-59634"/>
            <a:ext cx="1086676" cy="1086676"/>
          </a:xfrm>
          <a:prstGeom prst="rect">
            <a:avLst/>
          </a:prstGeom>
        </p:spPr>
      </p:pic>
      <p:sp>
        <p:nvSpPr>
          <p:cNvPr id="10" name="Rectángulo 9"/>
          <p:cNvSpPr/>
          <p:nvPr userDrawn="1"/>
        </p:nvSpPr>
        <p:spPr>
          <a:xfrm>
            <a:off x="0" y="0"/>
            <a:ext cx="12192000" cy="112143"/>
          </a:xfrm>
          <a:prstGeom prst="rect">
            <a:avLst/>
          </a:prstGeom>
          <a:solidFill>
            <a:srgbClr val="0072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ln>
                <a:noFill/>
              </a:ln>
              <a:solidFill>
                <a:srgbClr val="0072C5"/>
              </a:solidFill>
            </a:endParaRPr>
          </a:p>
        </p:txBody>
      </p:sp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274641" y="1825625"/>
            <a:ext cx="11079159" cy="4351338"/>
          </a:xfrm>
        </p:spPr>
        <p:txBody>
          <a:bodyPr/>
          <a:lstStyle>
            <a:lvl1pPr marL="228600" indent="-228600">
              <a:buClr>
                <a:schemeClr val="bg1">
                  <a:lumMod val="85000"/>
                </a:schemeClr>
              </a:buClr>
              <a:buSzPct val="90000"/>
              <a:buFont typeface="Segoe UI Light" panose="020B0502040204020203" pitchFamily="34" charset="0"/>
              <a:buChar char="■"/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685800" indent="-228600">
              <a:buClr>
                <a:schemeClr val="bg1">
                  <a:lumMod val="85000"/>
                </a:schemeClr>
              </a:buClr>
              <a:buSzPct val="90000"/>
              <a:buFont typeface="Segoe UI Light" panose="020B0502040204020203" pitchFamily="34" charset="0"/>
              <a:buChar char="■"/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1143000" indent="-228600">
              <a:buClr>
                <a:schemeClr val="bg1">
                  <a:lumMod val="85000"/>
                </a:schemeClr>
              </a:buClr>
              <a:buSzPct val="90000"/>
              <a:buFont typeface="Segoe UI Light" panose="020B0502040204020203" pitchFamily="34" charset="0"/>
              <a:buChar char="■"/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1600200" indent="-228600">
              <a:buClr>
                <a:schemeClr val="bg1">
                  <a:lumMod val="85000"/>
                </a:schemeClr>
              </a:buClr>
              <a:buSzPct val="90000"/>
              <a:buFont typeface="Segoe UI Light" panose="020B0502040204020203" pitchFamily="34" charset="0"/>
              <a:buChar char="■"/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2057400" indent="-228600">
              <a:buClr>
                <a:schemeClr val="bg1">
                  <a:lumMod val="85000"/>
                </a:schemeClr>
              </a:buClr>
              <a:buSzPct val="90000"/>
              <a:buFont typeface="Segoe UI Light" panose="020B0502040204020203" pitchFamily="34" charset="0"/>
              <a:buChar char="■"/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2088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5372" cy="6858000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76044" y="365125"/>
            <a:ext cx="11077755" cy="1325563"/>
          </a:xfrm>
        </p:spPr>
        <p:txBody>
          <a:bodyPr/>
          <a:lstStyle>
            <a:lvl1pPr>
              <a:defRPr>
                <a:solidFill>
                  <a:srgbClr val="0072C5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  <p:sp>
        <p:nvSpPr>
          <p:cNvPr id="8" name="Triángulo rectángulo 7"/>
          <p:cNvSpPr/>
          <p:nvPr userDrawn="1"/>
        </p:nvSpPr>
        <p:spPr>
          <a:xfrm rot="10800000">
            <a:off x="10535477" y="0"/>
            <a:ext cx="1649895" cy="1649895"/>
          </a:xfrm>
          <a:prstGeom prst="rtTriangle">
            <a:avLst/>
          </a:prstGeom>
          <a:solidFill>
            <a:srgbClr val="0072C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776" y="-59634"/>
            <a:ext cx="1086676" cy="1086676"/>
          </a:xfrm>
          <a:prstGeom prst="rect">
            <a:avLst/>
          </a:prstGeom>
        </p:spPr>
      </p:pic>
      <p:sp>
        <p:nvSpPr>
          <p:cNvPr id="11" name="Rectángulo 10"/>
          <p:cNvSpPr/>
          <p:nvPr userDrawn="1"/>
        </p:nvSpPr>
        <p:spPr>
          <a:xfrm>
            <a:off x="0" y="0"/>
            <a:ext cx="12192000" cy="112143"/>
          </a:xfrm>
          <a:prstGeom prst="rect">
            <a:avLst/>
          </a:prstGeom>
          <a:solidFill>
            <a:srgbClr val="0072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ln>
                <a:noFill/>
              </a:ln>
              <a:solidFill>
                <a:srgbClr val="0072C5"/>
              </a:solidFill>
            </a:endParaRPr>
          </a:p>
        </p:txBody>
      </p:sp>
      <p:sp>
        <p:nvSpPr>
          <p:cNvPr id="12" name="Content Placeholder 2"/>
          <p:cNvSpPr>
            <a:spLocks noGrp="1"/>
          </p:cNvSpPr>
          <p:nvPr>
            <p:ph idx="10"/>
          </p:nvPr>
        </p:nvSpPr>
        <p:spPr>
          <a:xfrm>
            <a:off x="276043" y="1822450"/>
            <a:ext cx="5400137" cy="4351337"/>
          </a:xfrm>
        </p:spPr>
        <p:txBody>
          <a:bodyPr/>
          <a:lstStyle>
            <a:lvl1pPr marL="228600" indent="-228600">
              <a:buClr>
                <a:schemeClr val="bg1">
                  <a:lumMod val="85000"/>
                </a:schemeClr>
              </a:buClr>
              <a:buSzPct val="90000"/>
              <a:buFont typeface="Segoe UI Light" panose="020B0502040204020203" pitchFamily="34" charset="0"/>
              <a:buChar char="■"/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685800" indent="-228600">
              <a:buClr>
                <a:schemeClr val="bg1">
                  <a:lumMod val="85000"/>
                </a:schemeClr>
              </a:buClr>
              <a:buSzPct val="90000"/>
              <a:buFont typeface="Segoe UI Light" panose="020B0502040204020203" pitchFamily="34" charset="0"/>
              <a:buChar char="■"/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1143000" indent="-228600">
              <a:buClr>
                <a:schemeClr val="bg1">
                  <a:lumMod val="85000"/>
                </a:schemeClr>
              </a:buClr>
              <a:buSzPct val="90000"/>
              <a:buFont typeface="Segoe UI Light" panose="020B0502040204020203" pitchFamily="34" charset="0"/>
              <a:buChar char="■"/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1600200" indent="-228600">
              <a:buClr>
                <a:schemeClr val="bg1">
                  <a:lumMod val="85000"/>
                </a:schemeClr>
              </a:buClr>
              <a:buSzPct val="90000"/>
              <a:buFont typeface="Segoe UI Light" panose="020B0502040204020203" pitchFamily="34" charset="0"/>
              <a:buChar char="■"/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2057400" indent="-228600">
              <a:buClr>
                <a:schemeClr val="bg1">
                  <a:lumMod val="85000"/>
                </a:schemeClr>
              </a:buClr>
              <a:buSzPct val="90000"/>
              <a:buFont typeface="Segoe UI Light" panose="020B0502040204020203" pitchFamily="34" charset="0"/>
              <a:buChar char="■"/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1"/>
          </p:nvPr>
        </p:nvSpPr>
        <p:spPr>
          <a:xfrm>
            <a:off x="6012611" y="1822450"/>
            <a:ext cx="5341188" cy="4351337"/>
          </a:xfrm>
        </p:spPr>
        <p:txBody>
          <a:bodyPr/>
          <a:lstStyle>
            <a:lvl1pPr marL="228600" indent="-228600">
              <a:buClr>
                <a:schemeClr val="bg1">
                  <a:lumMod val="85000"/>
                </a:schemeClr>
              </a:buClr>
              <a:buSzPct val="90000"/>
              <a:buFont typeface="Segoe UI Light" panose="020B0502040204020203" pitchFamily="34" charset="0"/>
              <a:buChar char="■"/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685800" indent="-228600">
              <a:buClr>
                <a:schemeClr val="bg1">
                  <a:lumMod val="85000"/>
                </a:schemeClr>
              </a:buClr>
              <a:buSzPct val="90000"/>
              <a:buFont typeface="Segoe UI Light" panose="020B0502040204020203" pitchFamily="34" charset="0"/>
              <a:buChar char="■"/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1143000" indent="-228600">
              <a:buClr>
                <a:schemeClr val="bg1">
                  <a:lumMod val="85000"/>
                </a:schemeClr>
              </a:buClr>
              <a:buSzPct val="90000"/>
              <a:buFont typeface="Segoe UI Light" panose="020B0502040204020203" pitchFamily="34" charset="0"/>
              <a:buChar char="■"/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1600200" indent="-228600">
              <a:buClr>
                <a:schemeClr val="bg1">
                  <a:lumMod val="85000"/>
                </a:schemeClr>
              </a:buClr>
              <a:buSzPct val="90000"/>
              <a:buFont typeface="Segoe UI Light" panose="020B0502040204020203" pitchFamily="34" charset="0"/>
              <a:buChar char="■"/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2057400" indent="-228600">
              <a:buClr>
                <a:schemeClr val="bg1">
                  <a:lumMod val="85000"/>
                </a:schemeClr>
              </a:buClr>
              <a:buSzPct val="90000"/>
              <a:buFont typeface="Segoe UI Light" panose="020B0502040204020203" pitchFamily="34" charset="0"/>
              <a:buChar char="■"/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8967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181135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60" r:id="rId2"/>
    <p:sldLayoutId id="2147483668" r:id="rId3"/>
    <p:sldLayoutId id="2147483661" r:id="rId4"/>
    <p:sldLayoutId id="2147483662" r:id="rId5"/>
    <p:sldLayoutId id="2147483666" r:id="rId6"/>
    <p:sldLayoutId id="2147483649" r:id="rId7"/>
    <p:sldLayoutId id="2147483650" r:id="rId8"/>
    <p:sldLayoutId id="2147483652" r:id="rId9"/>
    <p:sldLayoutId id="2147483664" r:id="rId10"/>
    <p:sldLayoutId id="2147483663" r:id="rId11"/>
    <p:sldLayoutId id="2147483669" r:id="rId12"/>
    <p:sldLayoutId id="2147483670" r:id="rId13"/>
    <p:sldLayoutId id="2147483672" r:id="rId14"/>
    <p:sldLayoutId id="2147483673" r:id="rId15"/>
    <p:sldLayoutId id="2147483674" r:id="rId16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Segoe UI Light" panose="020B0502040204020203" pitchFamily="34" charset="0"/>
          <a:ea typeface="+mj-ea"/>
          <a:cs typeface="Segoe UI Light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7" Type="http://schemas.microsoft.com/office/2007/relationships/hdphoto" Target="../media/hdphoto1.wdp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2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13" Type="http://schemas.openxmlformats.org/officeDocument/2006/relationships/image" Target="../media/image40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20.png"/><Relationship Id="rId12" Type="http://schemas.openxmlformats.org/officeDocument/2006/relationships/image" Target="../media/image39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.xml"/><Relationship Id="rId6" Type="http://schemas.openxmlformats.org/officeDocument/2006/relationships/image" Target="../media/image35.png"/><Relationship Id="rId11" Type="http://schemas.microsoft.com/office/2007/relationships/hdphoto" Target="../media/hdphoto2.wdp"/><Relationship Id="rId5" Type="http://schemas.openxmlformats.org/officeDocument/2006/relationships/image" Target="../media/image34.png"/><Relationship Id="rId10" Type="http://schemas.openxmlformats.org/officeDocument/2006/relationships/image" Target="../media/image38.png"/><Relationship Id="rId4" Type="http://schemas.openxmlformats.org/officeDocument/2006/relationships/image" Target="../media/image33.png"/><Relationship Id="rId9" Type="http://schemas.openxmlformats.org/officeDocument/2006/relationships/image" Target="../media/image37.png"/><Relationship Id="rId14" Type="http://schemas.openxmlformats.org/officeDocument/2006/relationships/image" Target="../media/image41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5.jp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7" Type="http://schemas.openxmlformats.org/officeDocument/2006/relationships/image" Target="../media/image5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5.jpg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62144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rippl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5000" dirty="0" smtClean="0"/>
              <a:t>¿Cómo sería el proceso?</a:t>
            </a:r>
            <a:endParaRPr lang="es-ES" sz="50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63" t="-667" r="10468" b="667"/>
          <a:stretch/>
        </p:blipFill>
        <p:spPr>
          <a:xfrm>
            <a:off x="6099048" y="-45637"/>
            <a:ext cx="6092952" cy="6926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9246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R" b="1" dirty="0" smtClean="0"/>
              <a:t>Definición </a:t>
            </a:r>
            <a:endParaRPr lang="es-CR" dirty="0"/>
          </a:p>
        </p:txBody>
      </p:sp>
      <p:sp>
        <p:nvSpPr>
          <p:cNvPr id="3" name="Rectangle 2"/>
          <p:cNvSpPr/>
          <p:nvPr/>
        </p:nvSpPr>
        <p:spPr bwMode="auto">
          <a:xfrm>
            <a:off x="7114104" y="3759480"/>
            <a:ext cx="1877135" cy="187713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Implementación 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del  portal ECM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9081286" y="3759479"/>
            <a:ext cx="1877135" cy="187713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Incorporación de procesos </a:t>
            </a:r>
          </a:p>
        </p:txBody>
      </p:sp>
      <p:sp>
        <p:nvSpPr>
          <p:cNvPr id="5" name="Rectangle 4"/>
          <p:cNvSpPr/>
          <p:nvPr/>
        </p:nvSpPr>
        <p:spPr bwMode="auto">
          <a:xfrm>
            <a:off x="9081288" y="1774197"/>
            <a:ext cx="1877135" cy="187713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Definición  de una arquitectura de información corporativa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7114104" y="1774200"/>
            <a:ext cx="1877135" cy="187713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Entender que necesita el negocio  y cuales son las políticas corporativas</a:t>
            </a:r>
          </a:p>
        </p:txBody>
      </p:sp>
      <p:sp>
        <p:nvSpPr>
          <p:cNvPr id="7" name="Title 2"/>
          <p:cNvSpPr txBox="1">
            <a:spLocks/>
          </p:cNvSpPr>
          <p:nvPr/>
        </p:nvSpPr>
        <p:spPr>
          <a:xfrm>
            <a:off x="520701" y="228601"/>
            <a:ext cx="11149013" cy="74789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100" baseline="0">
                <a:ln w="3175">
                  <a:noFill/>
                </a:ln>
                <a:solidFill>
                  <a:srgbClr val="0072C6"/>
                </a:soli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endParaRPr lang="es-CR" dirty="0"/>
          </a:p>
        </p:txBody>
      </p:sp>
      <p:graphicFrame>
        <p:nvGraphicFramePr>
          <p:cNvPr id="18" name="Diagram 17"/>
          <p:cNvGraphicFramePr/>
          <p:nvPr>
            <p:extLst>
              <p:ext uri="{D42A27DB-BD31-4B8C-83A1-F6EECF244321}">
                <p14:modId xmlns:p14="http://schemas.microsoft.com/office/powerpoint/2010/main" val="3251383777"/>
              </p:ext>
            </p:extLst>
          </p:nvPr>
        </p:nvGraphicFramePr>
        <p:xfrm>
          <a:off x="-629024" y="1308538"/>
          <a:ext cx="8805461" cy="51553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952344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Graphic spid="18" grpId="0">
        <p:bldAsOne/>
      </p:bldGraphic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R" dirty="0" smtClean="0"/>
              <a:t>Continuo</a:t>
            </a:r>
            <a:endParaRPr lang="es-CR" dirty="0"/>
          </a:p>
        </p:txBody>
      </p:sp>
      <p:sp>
        <p:nvSpPr>
          <p:cNvPr id="3" name="Rectangle 2"/>
          <p:cNvSpPr/>
          <p:nvPr/>
        </p:nvSpPr>
        <p:spPr bwMode="auto">
          <a:xfrm>
            <a:off x="7114104" y="3759480"/>
            <a:ext cx="1877135" cy="187713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Desarrollo e Implementación 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SharePoint </a:t>
            </a:r>
            <a:r>
              <a:rPr lang="es-CR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  <a:sym typeface="Wingdings" pitchFamily="2" charset="2"/>
              </a:rPr>
              <a:t></a:t>
            </a:r>
            <a:endParaRPr lang="es-CR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9081286" y="3759479"/>
            <a:ext cx="1877135" cy="187713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Puesta en Producción</a:t>
            </a:r>
          </a:p>
        </p:txBody>
      </p:sp>
      <p:sp>
        <p:nvSpPr>
          <p:cNvPr id="5" name="Rectangle 4"/>
          <p:cNvSpPr/>
          <p:nvPr/>
        </p:nvSpPr>
        <p:spPr bwMode="auto">
          <a:xfrm>
            <a:off x="9081288" y="1774197"/>
            <a:ext cx="1877135" cy="187713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Diseño de los tipos de contenidos (documentos) y metadatos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7114104" y="1774200"/>
            <a:ext cx="1877135" cy="187713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Definición de  la arquitectura de la información</a:t>
            </a:r>
          </a:p>
        </p:txBody>
      </p:sp>
      <p:sp>
        <p:nvSpPr>
          <p:cNvPr id="7" name="Title 2"/>
          <p:cNvSpPr txBox="1">
            <a:spLocks/>
          </p:cNvSpPr>
          <p:nvPr/>
        </p:nvSpPr>
        <p:spPr>
          <a:xfrm>
            <a:off x="520701" y="228601"/>
            <a:ext cx="11149013" cy="74789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100" baseline="0">
                <a:ln w="3175">
                  <a:noFill/>
                </a:ln>
                <a:solidFill>
                  <a:srgbClr val="0072C6"/>
                </a:soli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endParaRPr lang="es-CR" dirty="0"/>
          </a:p>
        </p:txBody>
      </p:sp>
      <p:grpSp>
        <p:nvGrpSpPr>
          <p:cNvPr id="16" name="Group 6"/>
          <p:cNvGrpSpPr>
            <a:grpSpLocks/>
          </p:cNvGrpSpPr>
          <p:nvPr/>
        </p:nvGrpSpPr>
        <p:grpSpPr bwMode="auto">
          <a:xfrm>
            <a:off x="274641" y="1320800"/>
            <a:ext cx="6735759" cy="5021943"/>
            <a:chOff x="1447457" y="1219826"/>
            <a:chExt cx="7696543" cy="5333374"/>
          </a:xfrm>
          <a:solidFill>
            <a:schemeClr val="accent1">
              <a:alpha val="0"/>
            </a:schemeClr>
          </a:solidFill>
        </p:grpSpPr>
        <p:sp>
          <p:nvSpPr>
            <p:cNvPr id="17" name="Rounded Rectangle 16"/>
            <p:cNvSpPr/>
            <p:nvPr/>
          </p:nvSpPr>
          <p:spPr>
            <a:xfrm>
              <a:off x="1447457" y="1219826"/>
              <a:ext cx="7696543" cy="5333374"/>
            </a:xfrm>
            <a:prstGeom prst="roundRect">
              <a:avLst/>
            </a:prstGeom>
            <a:grpFill/>
            <a:ln>
              <a:prstDash val="lg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endParaRPr lang="es-UY" dirty="0">
                <a:ln>
                  <a:solidFill>
                    <a:schemeClr val="tx1"/>
                  </a:solidFill>
                  <a:prstDash val="lgDash"/>
                </a:ln>
              </a:endParaRPr>
            </a:p>
          </p:txBody>
        </p:sp>
        <p:sp>
          <p:nvSpPr>
            <p:cNvPr id="18" name="Rectangle 3"/>
            <p:cNvSpPr>
              <a:spLocks/>
            </p:cNvSpPr>
            <p:nvPr/>
          </p:nvSpPr>
          <p:spPr bwMode="auto">
            <a:xfrm>
              <a:off x="1512888" y="1233488"/>
              <a:ext cx="7162800" cy="45259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742950" lvl="1" indent="-285750">
                <a:spcBef>
                  <a:spcPct val="20000"/>
                </a:spcBef>
              </a:pPr>
              <a:endParaRPr lang="en-GB" sz="2800">
                <a:latin typeface="Calibri" pitchFamily="34" charset="0"/>
              </a:endParaRPr>
            </a:p>
          </p:txBody>
        </p:sp>
        <p:graphicFrame>
          <p:nvGraphicFramePr>
            <p:cNvPr id="19" name="Diagram 18"/>
            <p:cNvGraphicFramePr/>
            <p:nvPr>
              <p:extLst>
                <p:ext uri="{D42A27DB-BD31-4B8C-83A1-F6EECF244321}">
                  <p14:modId xmlns:p14="http://schemas.microsoft.com/office/powerpoint/2010/main" val="2910056511"/>
                </p:ext>
              </p:extLst>
            </p:nvPr>
          </p:nvGraphicFramePr>
          <p:xfrm>
            <a:off x="2057400" y="1920067"/>
            <a:ext cx="6755791" cy="4099732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sp>
          <p:nvSpPr>
            <p:cNvPr id="20" name="TextBox 11"/>
            <p:cNvSpPr txBox="1">
              <a:spLocks noChangeArrowheads="1"/>
            </p:cNvSpPr>
            <p:nvPr/>
          </p:nvSpPr>
          <p:spPr bwMode="auto">
            <a:xfrm>
              <a:off x="4558723" y="6019801"/>
              <a:ext cx="1306336" cy="35954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es-US" sz="1600" dirty="0" smtClean="0"/>
                <a:t>Iteración</a:t>
              </a:r>
              <a:r>
                <a:rPr lang="en-US" sz="1600" dirty="0" smtClean="0"/>
                <a:t> </a:t>
              </a:r>
              <a:r>
                <a:rPr lang="en-US" sz="1600" dirty="0"/>
                <a:t>1</a:t>
              </a:r>
              <a:endParaRPr lang="es-CR" sz="1600" dirty="0"/>
            </a:p>
          </p:txBody>
        </p:sp>
        <p:sp>
          <p:nvSpPr>
            <p:cNvPr id="21" name="TextBox 12"/>
            <p:cNvSpPr txBox="1">
              <a:spLocks noChangeArrowheads="1"/>
            </p:cNvSpPr>
            <p:nvPr/>
          </p:nvSpPr>
          <p:spPr bwMode="auto">
            <a:xfrm>
              <a:off x="5976074" y="6009064"/>
              <a:ext cx="1306336" cy="35954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es-US" sz="1600" dirty="0" smtClean="0"/>
                <a:t>Iteración</a:t>
              </a:r>
              <a:r>
                <a:rPr lang="en-US" sz="1600" dirty="0" smtClean="0"/>
                <a:t> </a:t>
              </a:r>
              <a:r>
                <a:rPr lang="en-US" sz="1600" dirty="0"/>
                <a:t>2</a:t>
              </a:r>
              <a:endParaRPr lang="es-CR" sz="1600" dirty="0"/>
            </a:p>
          </p:txBody>
        </p:sp>
        <p:sp>
          <p:nvSpPr>
            <p:cNvPr id="22" name="TextBox 13"/>
            <p:cNvSpPr txBox="1">
              <a:spLocks noChangeArrowheads="1"/>
            </p:cNvSpPr>
            <p:nvPr/>
          </p:nvSpPr>
          <p:spPr bwMode="auto">
            <a:xfrm>
              <a:off x="7410596" y="6019798"/>
              <a:ext cx="1306336" cy="35954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es-US" sz="1600" dirty="0" smtClean="0"/>
                <a:t>Iteración</a:t>
              </a:r>
              <a:r>
                <a:rPr lang="en-US" sz="1600" dirty="0" smtClean="0"/>
                <a:t> </a:t>
              </a:r>
              <a:r>
                <a:rPr lang="en-US" sz="1600" dirty="0"/>
                <a:t>n</a:t>
              </a:r>
              <a:endParaRPr lang="es-CR" sz="1600" dirty="0"/>
            </a:p>
          </p:txBody>
        </p:sp>
        <p:sp>
          <p:nvSpPr>
            <p:cNvPr id="23" name="TextBox 14"/>
            <p:cNvSpPr txBox="1">
              <a:spLocks noChangeArrowheads="1"/>
            </p:cNvSpPr>
            <p:nvPr/>
          </p:nvSpPr>
          <p:spPr bwMode="auto">
            <a:xfrm>
              <a:off x="3894024" y="1251362"/>
              <a:ext cx="2271391" cy="46166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en-US" sz="2400" dirty="0" err="1"/>
                <a:t>Solución</a:t>
              </a:r>
              <a:r>
                <a:rPr lang="en-US" sz="2400" dirty="0"/>
                <a:t> de EC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75566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" t="15892" r="-119" b="-1251"/>
          <a:stretch/>
        </p:blipFill>
        <p:spPr>
          <a:xfrm>
            <a:off x="0" y="0"/>
            <a:ext cx="12272790" cy="6939348"/>
          </a:xfrm>
          <a:prstGeom prst="rect">
            <a:avLst/>
          </a:prstGeom>
        </p:spPr>
      </p:pic>
      <p:grpSp>
        <p:nvGrpSpPr>
          <p:cNvPr id="3" name="Group 2"/>
          <p:cNvGrpSpPr/>
          <p:nvPr/>
        </p:nvGrpSpPr>
        <p:grpSpPr>
          <a:xfrm>
            <a:off x="3619597" y="2204146"/>
            <a:ext cx="2160001" cy="2099999"/>
            <a:chOff x="3619597" y="2204146"/>
            <a:chExt cx="2160001" cy="2099999"/>
          </a:xfrm>
        </p:grpSpPr>
        <p:grpSp>
          <p:nvGrpSpPr>
            <p:cNvPr id="14" name="Group 13"/>
            <p:cNvGrpSpPr/>
            <p:nvPr/>
          </p:nvGrpSpPr>
          <p:grpSpPr>
            <a:xfrm>
              <a:off x="3619597" y="2204146"/>
              <a:ext cx="2160001" cy="2099999"/>
              <a:chOff x="2055811" y="1600200"/>
              <a:chExt cx="2514601" cy="2514600"/>
            </a:xfrm>
          </p:grpSpPr>
          <p:sp>
            <p:nvSpPr>
              <p:cNvPr id="15" name="Rectangle 14"/>
              <p:cNvSpPr/>
              <p:nvPr/>
            </p:nvSpPr>
            <p:spPr bwMode="auto">
              <a:xfrm>
                <a:off x="2055812" y="1600200"/>
                <a:ext cx="2514600" cy="25146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6" name="TextBox 15"/>
              <p:cNvSpPr txBox="1"/>
              <p:nvPr/>
            </p:nvSpPr>
            <p:spPr>
              <a:xfrm>
                <a:off x="2055811" y="3636597"/>
                <a:ext cx="2514600" cy="33168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s-CR" spc="-100" dirty="0" smtClea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Blanco y Negro</a:t>
                </a:r>
                <a:endParaRPr lang="es-CR" spc="-1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4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78206" y="2480733"/>
              <a:ext cx="1188720" cy="1188720"/>
            </a:xfrm>
            <a:prstGeom prst="rect">
              <a:avLst/>
            </a:prstGeom>
          </p:spPr>
        </p:pic>
      </p:grpSp>
      <p:grpSp>
        <p:nvGrpSpPr>
          <p:cNvPr id="2" name="Group 1"/>
          <p:cNvGrpSpPr/>
          <p:nvPr/>
        </p:nvGrpSpPr>
        <p:grpSpPr>
          <a:xfrm>
            <a:off x="1057830" y="2195698"/>
            <a:ext cx="2159999" cy="2108447"/>
            <a:chOff x="1057830" y="2195698"/>
            <a:chExt cx="2159999" cy="2108447"/>
          </a:xfrm>
        </p:grpSpPr>
        <p:grpSp>
          <p:nvGrpSpPr>
            <p:cNvPr id="11" name="Group 10"/>
            <p:cNvGrpSpPr/>
            <p:nvPr/>
          </p:nvGrpSpPr>
          <p:grpSpPr>
            <a:xfrm>
              <a:off x="1057830" y="2195698"/>
              <a:ext cx="2159999" cy="2108447"/>
              <a:chOff x="2055812" y="1600200"/>
              <a:chExt cx="2514600" cy="2514600"/>
            </a:xfrm>
          </p:grpSpPr>
          <p:sp>
            <p:nvSpPr>
              <p:cNvPr id="12" name="Rectangle 11"/>
              <p:cNvSpPr/>
              <p:nvPr/>
            </p:nvSpPr>
            <p:spPr bwMode="auto">
              <a:xfrm>
                <a:off x="2055812" y="1600200"/>
                <a:ext cx="2514600" cy="25146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3" name="TextBox 12"/>
              <p:cNvSpPr txBox="1"/>
              <p:nvPr/>
            </p:nvSpPr>
            <p:spPr>
              <a:xfrm>
                <a:off x="2055812" y="3638512"/>
                <a:ext cx="2514600" cy="33035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s-CR" spc="-100" dirty="0" smtClea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esolución</a:t>
                </a:r>
                <a:endParaRPr lang="es-CR" spc="-1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pic>
          <p:nvPicPr>
            <p:cNvPr id="28" name="Picture 27"/>
            <p:cNvPicPr>
              <a:picLocks noChangeAspect="1"/>
            </p:cNvPicPr>
            <p:nvPr/>
          </p:nvPicPr>
          <p:blipFill>
            <a:blip r:embed="rId5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43469" y="2480733"/>
              <a:ext cx="1188720" cy="1188720"/>
            </a:xfrm>
            <a:prstGeom prst="rect">
              <a:avLst/>
            </a:prstGeom>
            <a:noFill/>
          </p:spPr>
        </p:pic>
      </p:grpSp>
      <p:grpSp>
        <p:nvGrpSpPr>
          <p:cNvPr id="4" name="Group 3"/>
          <p:cNvGrpSpPr/>
          <p:nvPr/>
        </p:nvGrpSpPr>
        <p:grpSpPr>
          <a:xfrm>
            <a:off x="6181366" y="2200084"/>
            <a:ext cx="2160000" cy="2104061"/>
            <a:chOff x="6181366" y="2200084"/>
            <a:chExt cx="2160000" cy="2104061"/>
          </a:xfrm>
        </p:grpSpPr>
        <p:grpSp>
          <p:nvGrpSpPr>
            <p:cNvPr id="17" name="Group 16"/>
            <p:cNvGrpSpPr/>
            <p:nvPr/>
          </p:nvGrpSpPr>
          <p:grpSpPr>
            <a:xfrm>
              <a:off x="6181366" y="2200084"/>
              <a:ext cx="2160000" cy="2104061"/>
              <a:chOff x="2055812" y="1600200"/>
              <a:chExt cx="2514600" cy="2514600"/>
            </a:xfrm>
          </p:grpSpPr>
          <p:sp>
            <p:nvSpPr>
              <p:cNvPr id="18" name="Rectangle 17"/>
              <p:cNvSpPr/>
              <p:nvPr/>
            </p:nvSpPr>
            <p:spPr bwMode="auto">
              <a:xfrm>
                <a:off x="2055812" y="1600200"/>
                <a:ext cx="2514600" cy="25146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9" name="TextBox 18"/>
              <p:cNvSpPr txBox="1"/>
              <p:nvPr/>
            </p:nvSpPr>
            <p:spPr>
              <a:xfrm>
                <a:off x="2055812" y="3637518"/>
                <a:ext cx="2514600" cy="33104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s-CR" spc="-100" dirty="0" smtClea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Documentos - Folios</a:t>
                </a:r>
                <a:endParaRPr lang="es-CR" spc="-1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4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67006" y="2480733"/>
              <a:ext cx="1188720" cy="1188720"/>
            </a:xfrm>
            <a:prstGeom prst="rect">
              <a:avLst/>
            </a:prstGeom>
          </p:spPr>
        </p:pic>
      </p:grpSp>
      <p:grpSp>
        <p:nvGrpSpPr>
          <p:cNvPr id="5" name="Group 4"/>
          <p:cNvGrpSpPr/>
          <p:nvPr/>
        </p:nvGrpSpPr>
        <p:grpSpPr>
          <a:xfrm>
            <a:off x="8739274" y="2204146"/>
            <a:ext cx="2163860" cy="2099999"/>
            <a:chOff x="8739274" y="2204146"/>
            <a:chExt cx="2163860" cy="2099999"/>
          </a:xfrm>
        </p:grpSpPr>
        <p:grpSp>
          <p:nvGrpSpPr>
            <p:cNvPr id="20" name="Group 19"/>
            <p:cNvGrpSpPr/>
            <p:nvPr/>
          </p:nvGrpSpPr>
          <p:grpSpPr>
            <a:xfrm>
              <a:off x="8739274" y="2204146"/>
              <a:ext cx="2163860" cy="2099999"/>
              <a:chOff x="2051318" y="1629165"/>
              <a:chExt cx="2519094" cy="2514600"/>
            </a:xfrm>
          </p:grpSpPr>
          <p:sp>
            <p:nvSpPr>
              <p:cNvPr id="21" name="Rectangle 20"/>
              <p:cNvSpPr/>
              <p:nvPr/>
            </p:nvSpPr>
            <p:spPr bwMode="auto">
              <a:xfrm>
                <a:off x="2055812" y="1629165"/>
                <a:ext cx="2514600" cy="25146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2" name="TextBox 21"/>
              <p:cNvSpPr txBox="1"/>
              <p:nvPr/>
            </p:nvSpPr>
            <p:spPr>
              <a:xfrm>
                <a:off x="2051318" y="3665560"/>
                <a:ext cx="2514600" cy="33168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s-CR" spc="-100" dirty="0" smtClea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Extracción Metadatos</a:t>
                </a:r>
                <a:endParaRPr lang="es-CR" spc="-1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6" cstate="print">
              <a:biLevel thresh="25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24914" y="2480733"/>
              <a:ext cx="1188720" cy="1188720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4263921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1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1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R" sz="5400" dirty="0">
                <a:solidFill>
                  <a:schemeClr val="bg2"/>
                </a:solidFill>
              </a:rPr>
              <a:t>¿Por qué SharePoint?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63" t="-667" r="10468" b="667"/>
          <a:stretch/>
        </p:blipFill>
        <p:spPr>
          <a:xfrm>
            <a:off x="6099048" y="-45637"/>
            <a:ext cx="6092952" cy="6926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1285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16784384" y="6419791"/>
            <a:ext cx="1584799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400" spc="-70" dirty="0">
                <a:solidFill>
                  <a:schemeClr val="bg1"/>
                </a:solidFill>
                <a:latin typeface="+mj-lt"/>
              </a:rPr>
              <a:t>Office Web Apps</a:t>
            </a:r>
          </a:p>
        </p:txBody>
      </p:sp>
      <p:grpSp>
        <p:nvGrpSpPr>
          <p:cNvPr id="70" name="Group 69"/>
          <p:cNvGrpSpPr/>
          <p:nvPr/>
        </p:nvGrpSpPr>
        <p:grpSpPr>
          <a:xfrm>
            <a:off x="847493" y="1593041"/>
            <a:ext cx="1596044" cy="1763486"/>
            <a:chOff x="104500" y="1457117"/>
            <a:chExt cx="1596044" cy="1763486"/>
          </a:xfrm>
        </p:grpSpPr>
        <p:sp>
          <p:nvSpPr>
            <p:cNvPr id="20" name="Rectangle 19"/>
            <p:cNvSpPr/>
            <p:nvPr/>
          </p:nvSpPr>
          <p:spPr bwMode="auto">
            <a:xfrm>
              <a:off x="115745" y="1457117"/>
              <a:ext cx="1584799" cy="176348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120650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z="28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itchFamily="34" charset="0"/>
                <a:ea typeface="Segoe UI" pitchFamily="34" charset="0"/>
                <a:cs typeface="Segoe Pro Light"/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104500" y="2815363"/>
              <a:ext cx="158479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400" spc="-70" dirty="0">
                  <a:solidFill>
                    <a:schemeClr val="bg1"/>
                  </a:solidFill>
                  <a:latin typeface="+mj-lt"/>
                </a:rPr>
                <a:t>Social</a:t>
              </a:r>
            </a:p>
          </p:txBody>
        </p:sp>
        <p:pic>
          <p:nvPicPr>
            <p:cNvPr id="56" name="Picture 5" descr="W:\Open Engagements\Productivity\MS-Unified Communications\#1601 BizProd MOD Team Core Content Work\New Iconography\People\GroupOfPeople_060812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2893" y="1635296"/>
              <a:ext cx="1189655" cy="11896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" name="Group 2"/>
          <p:cNvGrpSpPr/>
          <p:nvPr/>
        </p:nvGrpSpPr>
        <p:grpSpPr>
          <a:xfrm>
            <a:off x="5960785" y="3318217"/>
            <a:ext cx="1708246" cy="1971523"/>
            <a:chOff x="5960785" y="3318217"/>
            <a:chExt cx="1708246" cy="1971523"/>
          </a:xfrm>
        </p:grpSpPr>
        <p:sp>
          <p:nvSpPr>
            <p:cNvPr id="44" name="Rectangle 43"/>
            <p:cNvSpPr/>
            <p:nvPr/>
          </p:nvSpPr>
          <p:spPr bwMode="auto">
            <a:xfrm>
              <a:off x="6058840" y="3463576"/>
              <a:ext cx="1584799" cy="176348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120650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z="28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itchFamily="34" charset="0"/>
                <a:ea typeface="Segoe UI" pitchFamily="34" charset="0"/>
                <a:cs typeface="Segoe Pro Light"/>
              </a:endParaRPr>
            </a:p>
          </p:txBody>
        </p:sp>
        <p:grpSp>
          <p:nvGrpSpPr>
            <p:cNvPr id="85" name="Group 84"/>
            <p:cNvGrpSpPr/>
            <p:nvPr/>
          </p:nvGrpSpPr>
          <p:grpSpPr>
            <a:xfrm>
              <a:off x="5960785" y="3318217"/>
              <a:ext cx="1708246" cy="1971523"/>
              <a:chOff x="5217792" y="3182292"/>
              <a:chExt cx="1708246" cy="1971523"/>
            </a:xfrm>
          </p:grpSpPr>
          <p:sp>
            <p:nvSpPr>
              <p:cNvPr id="45" name="TextBox 44"/>
              <p:cNvSpPr txBox="1"/>
              <p:nvPr/>
            </p:nvSpPr>
            <p:spPr>
              <a:xfrm>
                <a:off x="5315846" y="4784483"/>
                <a:ext cx="1584799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2400" spc="-70" dirty="0">
                    <a:solidFill>
                      <a:schemeClr val="bg1"/>
                    </a:solidFill>
                    <a:latin typeface="+mj-lt"/>
                  </a:rPr>
                  <a:t>Search</a:t>
                </a:r>
              </a:p>
            </p:txBody>
          </p:sp>
          <p:pic>
            <p:nvPicPr>
              <p:cNvPr id="57" name="Picture 6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auto">
              <a:xfrm>
                <a:off x="5217792" y="3182292"/>
                <a:ext cx="1708246" cy="170824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74" name="Group 73"/>
          <p:cNvGrpSpPr/>
          <p:nvPr/>
        </p:nvGrpSpPr>
        <p:grpSpPr>
          <a:xfrm>
            <a:off x="2601772" y="1593041"/>
            <a:ext cx="1584800" cy="1763486"/>
            <a:chOff x="1858779" y="1457117"/>
            <a:chExt cx="1584800" cy="1763486"/>
          </a:xfrm>
        </p:grpSpPr>
        <p:sp>
          <p:nvSpPr>
            <p:cNvPr id="4" name="Rectangle 3"/>
            <p:cNvSpPr/>
            <p:nvPr/>
          </p:nvSpPr>
          <p:spPr bwMode="auto">
            <a:xfrm>
              <a:off x="1858779" y="1457117"/>
              <a:ext cx="1584799" cy="176348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120650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z="28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itchFamily="34" charset="0"/>
                <a:ea typeface="Segoe UI" pitchFamily="34" charset="0"/>
                <a:cs typeface="Segoe Pro Light"/>
              </a:endParaRPr>
            </a:p>
          </p:txBody>
        </p:sp>
        <p:sp>
          <p:nvSpPr>
            <p:cNvPr id="2" name="TextBox 1"/>
            <p:cNvSpPr txBox="1"/>
            <p:nvPr/>
          </p:nvSpPr>
          <p:spPr>
            <a:xfrm>
              <a:off x="1858780" y="2787067"/>
              <a:ext cx="158479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400" spc="-70" dirty="0" err="1">
                  <a:solidFill>
                    <a:schemeClr val="bg1"/>
                  </a:solidFill>
                  <a:latin typeface="+mj-lt"/>
                </a:rPr>
                <a:t>Compartir</a:t>
              </a:r>
              <a:endParaRPr lang="en-US" sz="2400" spc="-70" dirty="0">
                <a:solidFill>
                  <a:schemeClr val="bg1"/>
                </a:solidFill>
                <a:latin typeface="+mj-lt"/>
              </a:endParaRPr>
            </a:p>
          </p:txBody>
        </p:sp>
        <p:pic>
          <p:nvPicPr>
            <p:cNvPr id="58" name="Picture 4" descr="W:\Open Engagements\Productivity\MS-Unified Communications\#1601 BizProd MOD Team Core Content Work\New Iconography\Words\Draft\62812\062812_white-02.png"/>
            <p:cNvPicPr>
              <a:picLocks noChangeAspect="1" noChangeArrowheads="1"/>
            </p:cNvPicPr>
            <p:nvPr/>
          </p:nvPicPr>
          <p:blipFill>
            <a:blip r:embed="rId6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07632" y="1593571"/>
              <a:ext cx="1157478" cy="11551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5" name="Group 74"/>
          <p:cNvGrpSpPr/>
          <p:nvPr/>
        </p:nvGrpSpPr>
        <p:grpSpPr>
          <a:xfrm>
            <a:off x="4315294" y="1598905"/>
            <a:ext cx="1603067" cy="1763486"/>
            <a:chOff x="3572300" y="1462981"/>
            <a:chExt cx="1603067" cy="1763486"/>
          </a:xfrm>
        </p:grpSpPr>
        <p:sp>
          <p:nvSpPr>
            <p:cNvPr id="5" name="Rectangle 4"/>
            <p:cNvSpPr/>
            <p:nvPr/>
          </p:nvSpPr>
          <p:spPr bwMode="auto">
            <a:xfrm>
              <a:off x="3590568" y="1462981"/>
              <a:ext cx="1584799" cy="176348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120650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z="28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itchFamily="34" charset="0"/>
                <a:ea typeface="Segoe UI" pitchFamily="34" charset="0"/>
                <a:cs typeface="Segoe Pro Light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3572300" y="2815363"/>
              <a:ext cx="158479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400" spc="-70" dirty="0" err="1">
                  <a:solidFill>
                    <a:schemeClr val="bg1"/>
                  </a:solidFill>
                  <a:latin typeface="+mj-lt"/>
                </a:rPr>
                <a:t>Documentos</a:t>
              </a:r>
              <a:endParaRPr lang="en-US" sz="2400" spc="-70" dirty="0">
                <a:solidFill>
                  <a:schemeClr val="bg1"/>
                </a:solidFill>
                <a:latin typeface="+mj-lt"/>
              </a:endParaRPr>
            </a:p>
          </p:txBody>
        </p:sp>
        <p:pic>
          <p:nvPicPr>
            <p:cNvPr id="60" name="Picture 3" descr="\\MAGNUM\Projects\Microsoft\Cloud Power FY12\Design\ICONS_PNG\Document.png"/>
            <p:cNvPicPr>
              <a:picLocks noChangeAspect="1" noChangeArrowheads="1"/>
            </p:cNvPicPr>
            <p:nvPr/>
          </p:nvPicPr>
          <p:blipFill>
            <a:blip r:embed="rId7" cstate="print">
              <a:lum bright="100000"/>
            </a:blip>
            <a:stretch>
              <a:fillRect/>
            </a:stretch>
          </p:blipFill>
          <p:spPr bwMode="auto">
            <a:xfrm>
              <a:off x="3688005" y="1567102"/>
              <a:ext cx="1326041" cy="1326041"/>
            </a:xfrm>
            <a:prstGeom prst="rect">
              <a:avLst/>
            </a:prstGeom>
            <a:noFill/>
          </p:spPr>
        </p:pic>
      </p:grpSp>
      <p:grpSp>
        <p:nvGrpSpPr>
          <p:cNvPr id="76" name="Group 75"/>
          <p:cNvGrpSpPr/>
          <p:nvPr/>
        </p:nvGrpSpPr>
        <p:grpSpPr>
          <a:xfrm>
            <a:off x="6053796" y="1605211"/>
            <a:ext cx="1584799" cy="1763486"/>
            <a:chOff x="5310802" y="1469287"/>
            <a:chExt cx="1584799" cy="1763486"/>
          </a:xfrm>
        </p:grpSpPr>
        <p:sp>
          <p:nvSpPr>
            <p:cNvPr id="6" name="Rectangle 5"/>
            <p:cNvSpPr/>
            <p:nvPr/>
          </p:nvSpPr>
          <p:spPr bwMode="auto">
            <a:xfrm>
              <a:off x="5310802" y="1469287"/>
              <a:ext cx="1584799" cy="176348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120650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z="2800" spc="-22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itchFamily="34" charset="0"/>
                <a:ea typeface="Segoe UI" pitchFamily="34" charset="0"/>
                <a:cs typeface="Segoe Pro Light"/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5310802" y="2841489"/>
              <a:ext cx="158479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400" spc="-70" dirty="0">
                  <a:solidFill>
                    <a:schemeClr val="bg1"/>
                  </a:solidFill>
                  <a:latin typeface="+mj-lt"/>
                </a:rPr>
                <a:t>Apps</a:t>
              </a:r>
            </a:p>
          </p:txBody>
        </p:sp>
        <p:pic>
          <p:nvPicPr>
            <p:cNvPr id="61" name="Picture 3" descr="W:\Open Engagements\Productivity\MS-Unified Communications\#1601 BizProd MOD Team Core Content Work\New Iconography\Words\Build_060512.png"/>
            <p:cNvPicPr>
              <a:picLocks noChangeAspect="1" noChangeArrowheads="1"/>
            </p:cNvPicPr>
            <p:nvPr/>
          </p:nvPicPr>
          <p:blipFill>
            <a:blip r:embed="rId8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48445" y="1725927"/>
              <a:ext cx="1061327" cy="10613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7" name="Group 76"/>
          <p:cNvGrpSpPr/>
          <p:nvPr/>
        </p:nvGrpSpPr>
        <p:grpSpPr>
          <a:xfrm>
            <a:off x="7800094" y="1605721"/>
            <a:ext cx="1584800" cy="1763486"/>
            <a:chOff x="7057101" y="1469797"/>
            <a:chExt cx="1584800" cy="1763486"/>
          </a:xfrm>
        </p:grpSpPr>
        <p:sp>
          <p:nvSpPr>
            <p:cNvPr id="19" name="Rectangle 18"/>
            <p:cNvSpPr/>
            <p:nvPr/>
          </p:nvSpPr>
          <p:spPr bwMode="auto">
            <a:xfrm>
              <a:off x="7057101" y="1469797"/>
              <a:ext cx="1584799" cy="176348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120650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z="28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itchFamily="34" charset="0"/>
                <a:ea typeface="Segoe UI" pitchFamily="34" charset="0"/>
                <a:cs typeface="Segoe Pro Light"/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7057102" y="2862564"/>
              <a:ext cx="158479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400" spc="-70" dirty="0">
                  <a:solidFill>
                    <a:schemeClr val="bg1"/>
                  </a:solidFill>
                  <a:latin typeface="+mj-lt"/>
                </a:rPr>
                <a:t>Follow</a:t>
              </a:r>
            </a:p>
          </p:txBody>
        </p:sp>
        <p:grpSp>
          <p:nvGrpSpPr>
            <p:cNvPr id="62" name="Group 61"/>
            <p:cNvGrpSpPr/>
            <p:nvPr/>
          </p:nvGrpSpPr>
          <p:grpSpPr bwMode="black">
            <a:xfrm>
              <a:off x="7589520" y="1739793"/>
              <a:ext cx="594856" cy="1012260"/>
              <a:chOff x="3360738" y="989012"/>
              <a:chExt cx="746125" cy="1439864"/>
            </a:xfrm>
          </p:grpSpPr>
          <p:sp>
            <p:nvSpPr>
              <p:cNvPr id="63" name="Freeform 36"/>
              <p:cNvSpPr>
                <a:spLocks/>
              </p:cNvSpPr>
              <p:nvPr/>
            </p:nvSpPr>
            <p:spPr bwMode="black">
              <a:xfrm>
                <a:off x="3360738" y="1255713"/>
                <a:ext cx="525463" cy="1173163"/>
              </a:xfrm>
              <a:custGeom>
                <a:avLst/>
                <a:gdLst>
                  <a:gd name="T0" fmla="*/ 252 w 562"/>
                  <a:gd name="T1" fmla="*/ 272 h 1256"/>
                  <a:gd name="T2" fmla="*/ 234 w 562"/>
                  <a:gd name="T3" fmla="*/ 192 h 1256"/>
                  <a:gd name="T4" fmla="*/ 407 w 562"/>
                  <a:gd name="T5" fmla="*/ 20 h 1256"/>
                  <a:gd name="T6" fmla="*/ 534 w 562"/>
                  <a:gd name="T7" fmla="*/ 76 h 1256"/>
                  <a:gd name="T8" fmla="*/ 562 w 562"/>
                  <a:gd name="T9" fmla="*/ 51 h 1256"/>
                  <a:gd name="T10" fmla="*/ 443 w 562"/>
                  <a:gd name="T11" fmla="*/ 0 h 1256"/>
                  <a:gd name="T12" fmla="*/ 164 w 562"/>
                  <a:gd name="T13" fmla="*/ 0 h 1256"/>
                  <a:gd name="T14" fmla="*/ 0 w 562"/>
                  <a:gd name="T15" fmla="*/ 163 h 1256"/>
                  <a:gd name="T16" fmla="*/ 0 w 562"/>
                  <a:gd name="T17" fmla="*/ 556 h 1256"/>
                  <a:gd name="T18" fmla="*/ 55 w 562"/>
                  <a:gd name="T19" fmla="*/ 612 h 1256"/>
                  <a:gd name="T20" fmla="*/ 110 w 562"/>
                  <a:gd name="T21" fmla="*/ 556 h 1256"/>
                  <a:gd name="T22" fmla="*/ 110 w 562"/>
                  <a:gd name="T23" fmla="*/ 201 h 1256"/>
                  <a:gd name="T24" fmla="*/ 139 w 562"/>
                  <a:gd name="T25" fmla="*/ 201 h 1256"/>
                  <a:gd name="T26" fmla="*/ 139 w 562"/>
                  <a:gd name="T27" fmla="*/ 1182 h 1256"/>
                  <a:gd name="T28" fmla="*/ 214 w 562"/>
                  <a:gd name="T29" fmla="*/ 1256 h 1256"/>
                  <a:gd name="T30" fmla="*/ 288 w 562"/>
                  <a:gd name="T31" fmla="*/ 1182 h 1256"/>
                  <a:gd name="T32" fmla="*/ 288 w 562"/>
                  <a:gd name="T33" fmla="*/ 615 h 1256"/>
                  <a:gd name="T34" fmla="*/ 317 w 562"/>
                  <a:gd name="T35" fmla="*/ 615 h 1256"/>
                  <a:gd name="T36" fmla="*/ 317 w 562"/>
                  <a:gd name="T37" fmla="*/ 1182 h 1256"/>
                  <a:gd name="T38" fmla="*/ 392 w 562"/>
                  <a:gd name="T39" fmla="*/ 1256 h 1256"/>
                  <a:gd name="T40" fmla="*/ 467 w 562"/>
                  <a:gd name="T41" fmla="*/ 1182 h 1256"/>
                  <a:gd name="T42" fmla="*/ 467 w 562"/>
                  <a:gd name="T43" fmla="*/ 516 h 1256"/>
                  <a:gd name="T44" fmla="*/ 252 w 562"/>
                  <a:gd name="T45" fmla="*/ 272 h 1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62" h="1256">
                    <a:moveTo>
                      <a:pt x="252" y="272"/>
                    </a:moveTo>
                    <a:cubicBezTo>
                      <a:pt x="248" y="262"/>
                      <a:pt x="234" y="225"/>
                      <a:pt x="234" y="192"/>
                    </a:cubicBezTo>
                    <a:cubicBezTo>
                      <a:pt x="234" y="97"/>
                      <a:pt x="312" y="20"/>
                      <a:pt x="407" y="20"/>
                    </a:cubicBezTo>
                    <a:cubicBezTo>
                      <a:pt x="456" y="20"/>
                      <a:pt x="501" y="41"/>
                      <a:pt x="534" y="76"/>
                    </a:cubicBezTo>
                    <a:cubicBezTo>
                      <a:pt x="542" y="66"/>
                      <a:pt x="551" y="58"/>
                      <a:pt x="562" y="51"/>
                    </a:cubicBezTo>
                    <a:cubicBezTo>
                      <a:pt x="532" y="20"/>
                      <a:pt x="490" y="0"/>
                      <a:pt x="443" y="0"/>
                    </a:cubicBezTo>
                    <a:cubicBezTo>
                      <a:pt x="164" y="0"/>
                      <a:pt x="164" y="0"/>
                      <a:pt x="164" y="0"/>
                    </a:cubicBezTo>
                    <a:cubicBezTo>
                      <a:pt x="73" y="0"/>
                      <a:pt x="0" y="73"/>
                      <a:pt x="0" y="163"/>
                    </a:cubicBezTo>
                    <a:cubicBezTo>
                      <a:pt x="0" y="556"/>
                      <a:pt x="0" y="556"/>
                      <a:pt x="0" y="556"/>
                    </a:cubicBezTo>
                    <a:cubicBezTo>
                      <a:pt x="0" y="587"/>
                      <a:pt x="25" y="612"/>
                      <a:pt x="55" y="612"/>
                    </a:cubicBezTo>
                    <a:cubicBezTo>
                      <a:pt x="86" y="612"/>
                      <a:pt x="110" y="587"/>
                      <a:pt x="110" y="556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39" y="201"/>
                      <a:pt x="139" y="201"/>
                      <a:pt x="139" y="201"/>
                    </a:cubicBezTo>
                    <a:cubicBezTo>
                      <a:pt x="139" y="1182"/>
                      <a:pt x="139" y="1182"/>
                      <a:pt x="139" y="1182"/>
                    </a:cubicBezTo>
                    <a:cubicBezTo>
                      <a:pt x="139" y="1223"/>
                      <a:pt x="173" y="1256"/>
                      <a:pt x="214" y="1256"/>
                    </a:cubicBezTo>
                    <a:cubicBezTo>
                      <a:pt x="255" y="1256"/>
                      <a:pt x="288" y="1223"/>
                      <a:pt x="288" y="1182"/>
                    </a:cubicBezTo>
                    <a:cubicBezTo>
                      <a:pt x="288" y="615"/>
                      <a:pt x="288" y="615"/>
                      <a:pt x="288" y="615"/>
                    </a:cubicBezTo>
                    <a:cubicBezTo>
                      <a:pt x="317" y="615"/>
                      <a:pt x="317" y="615"/>
                      <a:pt x="317" y="615"/>
                    </a:cubicBezTo>
                    <a:cubicBezTo>
                      <a:pt x="317" y="1182"/>
                      <a:pt x="317" y="1182"/>
                      <a:pt x="317" y="1182"/>
                    </a:cubicBezTo>
                    <a:cubicBezTo>
                      <a:pt x="317" y="1223"/>
                      <a:pt x="351" y="1256"/>
                      <a:pt x="392" y="1256"/>
                    </a:cubicBezTo>
                    <a:cubicBezTo>
                      <a:pt x="433" y="1256"/>
                      <a:pt x="467" y="1223"/>
                      <a:pt x="467" y="1182"/>
                    </a:cubicBezTo>
                    <a:cubicBezTo>
                      <a:pt x="467" y="516"/>
                      <a:pt x="467" y="516"/>
                      <a:pt x="467" y="516"/>
                    </a:cubicBezTo>
                    <a:cubicBezTo>
                      <a:pt x="398" y="459"/>
                      <a:pt x="284" y="354"/>
                      <a:pt x="252" y="27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914126"/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Freeform 37"/>
              <p:cNvSpPr>
                <a:spLocks/>
              </p:cNvSpPr>
              <p:nvPr/>
            </p:nvSpPr>
            <p:spPr bwMode="black">
              <a:xfrm>
                <a:off x="3824288" y="1733550"/>
                <a:ext cx="103188" cy="93663"/>
              </a:xfrm>
              <a:custGeom>
                <a:avLst/>
                <a:gdLst>
                  <a:gd name="T0" fmla="*/ 58 w 110"/>
                  <a:gd name="T1" fmla="*/ 43 h 101"/>
                  <a:gd name="T2" fmla="*/ 38 w 110"/>
                  <a:gd name="T3" fmla="*/ 59 h 101"/>
                  <a:gd name="T4" fmla="*/ 17 w 110"/>
                  <a:gd name="T5" fmla="*/ 43 h 101"/>
                  <a:gd name="T6" fmla="*/ 0 w 110"/>
                  <a:gd name="T7" fmla="*/ 29 h 101"/>
                  <a:gd name="T8" fmla="*/ 0 w 110"/>
                  <a:gd name="T9" fmla="*/ 45 h 101"/>
                  <a:gd name="T10" fmla="*/ 56 w 110"/>
                  <a:gd name="T11" fmla="*/ 101 h 101"/>
                  <a:gd name="T12" fmla="*/ 110 w 110"/>
                  <a:gd name="T13" fmla="*/ 45 h 101"/>
                  <a:gd name="T14" fmla="*/ 110 w 110"/>
                  <a:gd name="T15" fmla="*/ 0 h 101"/>
                  <a:gd name="T16" fmla="*/ 58 w 110"/>
                  <a:gd name="T17" fmla="*/ 43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0" h="101">
                    <a:moveTo>
                      <a:pt x="58" y="43"/>
                    </a:moveTo>
                    <a:cubicBezTo>
                      <a:pt x="38" y="59"/>
                      <a:pt x="38" y="59"/>
                      <a:pt x="38" y="59"/>
                    </a:cubicBezTo>
                    <a:cubicBezTo>
                      <a:pt x="17" y="43"/>
                      <a:pt x="17" y="43"/>
                      <a:pt x="17" y="43"/>
                    </a:cubicBezTo>
                    <a:cubicBezTo>
                      <a:pt x="13" y="40"/>
                      <a:pt x="7" y="35"/>
                      <a:pt x="0" y="29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76"/>
                      <a:pt x="25" y="101"/>
                      <a:pt x="56" y="101"/>
                    </a:cubicBezTo>
                    <a:cubicBezTo>
                      <a:pt x="85" y="101"/>
                      <a:pt x="110" y="76"/>
                      <a:pt x="110" y="45"/>
                    </a:cubicBezTo>
                    <a:cubicBezTo>
                      <a:pt x="110" y="0"/>
                      <a:pt x="110" y="0"/>
                      <a:pt x="110" y="0"/>
                    </a:cubicBezTo>
                    <a:cubicBezTo>
                      <a:pt x="86" y="20"/>
                      <a:pt x="67" y="35"/>
                      <a:pt x="58" y="4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914126"/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Oval 38"/>
              <p:cNvSpPr>
                <a:spLocks noChangeArrowheads="1"/>
              </p:cNvSpPr>
              <p:nvPr/>
            </p:nvSpPr>
            <p:spPr bwMode="black">
              <a:xfrm>
                <a:off x="3525838" y="989012"/>
                <a:ext cx="234950" cy="23812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914126"/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Freeform 39"/>
              <p:cNvSpPr>
                <a:spLocks/>
              </p:cNvSpPr>
              <p:nvPr/>
            </p:nvSpPr>
            <p:spPr bwMode="black">
              <a:xfrm>
                <a:off x="3606800" y="1304925"/>
                <a:ext cx="500063" cy="444500"/>
              </a:xfrm>
              <a:custGeom>
                <a:avLst/>
                <a:gdLst>
                  <a:gd name="T0" fmla="*/ 267 w 535"/>
                  <a:gd name="T1" fmla="*/ 476 h 477"/>
                  <a:gd name="T2" fmla="*/ 15 w 535"/>
                  <a:gd name="T3" fmla="*/ 208 h 477"/>
                  <a:gd name="T4" fmla="*/ 0 w 535"/>
                  <a:gd name="T5" fmla="*/ 140 h 477"/>
                  <a:gd name="T6" fmla="*/ 141 w 535"/>
                  <a:gd name="T7" fmla="*/ 0 h 477"/>
                  <a:gd name="T8" fmla="*/ 268 w 535"/>
                  <a:gd name="T9" fmla="*/ 80 h 477"/>
                  <a:gd name="T10" fmla="*/ 394 w 535"/>
                  <a:gd name="T11" fmla="*/ 0 h 477"/>
                  <a:gd name="T12" fmla="*/ 535 w 535"/>
                  <a:gd name="T13" fmla="*/ 140 h 477"/>
                  <a:gd name="T14" fmla="*/ 520 w 535"/>
                  <a:gd name="T15" fmla="*/ 208 h 477"/>
                  <a:gd name="T16" fmla="*/ 269 w 535"/>
                  <a:gd name="T17" fmla="*/ 476 h 477"/>
                  <a:gd name="T18" fmla="*/ 268 w 535"/>
                  <a:gd name="T19" fmla="*/ 477 h 477"/>
                  <a:gd name="T20" fmla="*/ 267 w 535"/>
                  <a:gd name="T21" fmla="*/ 476 h 4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35" h="477">
                    <a:moveTo>
                      <a:pt x="267" y="476"/>
                    </a:moveTo>
                    <a:cubicBezTo>
                      <a:pt x="247" y="461"/>
                      <a:pt x="55" y="310"/>
                      <a:pt x="15" y="208"/>
                    </a:cubicBezTo>
                    <a:cubicBezTo>
                      <a:pt x="8" y="189"/>
                      <a:pt x="0" y="162"/>
                      <a:pt x="0" y="140"/>
                    </a:cubicBezTo>
                    <a:cubicBezTo>
                      <a:pt x="0" y="63"/>
                      <a:pt x="63" y="0"/>
                      <a:pt x="141" y="0"/>
                    </a:cubicBezTo>
                    <a:cubicBezTo>
                      <a:pt x="197" y="0"/>
                      <a:pt x="245" y="33"/>
                      <a:pt x="268" y="80"/>
                    </a:cubicBezTo>
                    <a:cubicBezTo>
                      <a:pt x="290" y="33"/>
                      <a:pt x="339" y="0"/>
                      <a:pt x="394" y="0"/>
                    </a:cubicBezTo>
                    <a:cubicBezTo>
                      <a:pt x="472" y="0"/>
                      <a:pt x="535" y="63"/>
                      <a:pt x="535" y="140"/>
                    </a:cubicBezTo>
                    <a:cubicBezTo>
                      <a:pt x="535" y="162"/>
                      <a:pt x="527" y="189"/>
                      <a:pt x="520" y="208"/>
                    </a:cubicBezTo>
                    <a:cubicBezTo>
                      <a:pt x="480" y="310"/>
                      <a:pt x="288" y="461"/>
                      <a:pt x="269" y="476"/>
                    </a:cubicBezTo>
                    <a:cubicBezTo>
                      <a:pt x="268" y="477"/>
                      <a:pt x="268" y="477"/>
                      <a:pt x="268" y="477"/>
                    </a:cubicBezTo>
                    <a:lnTo>
                      <a:pt x="267" y="47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914126"/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80" name="Group 79"/>
          <p:cNvGrpSpPr/>
          <p:nvPr/>
        </p:nvGrpSpPr>
        <p:grpSpPr>
          <a:xfrm>
            <a:off x="9544956" y="1484465"/>
            <a:ext cx="1646409" cy="1872063"/>
            <a:chOff x="8801962" y="1348540"/>
            <a:chExt cx="1646409" cy="1872063"/>
          </a:xfrm>
        </p:grpSpPr>
        <p:sp>
          <p:nvSpPr>
            <p:cNvPr id="25" name="Rectangle 24"/>
            <p:cNvSpPr/>
            <p:nvPr/>
          </p:nvSpPr>
          <p:spPr bwMode="auto">
            <a:xfrm>
              <a:off x="8801962" y="1457117"/>
              <a:ext cx="1584799" cy="176348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120650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z="2800" spc="-22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itchFamily="34" charset="0"/>
                <a:ea typeface="Segoe UI" pitchFamily="34" charset="0"/>
                <a:cs typeface="Segoe Pro Light"/>
              </a:endParaRPr>
            </a:p>
          </p:txBody>
        </p:sp>
        <p:grpSp>
          <p:nvGrpSpPr>
            <p:cNvPr id="79" name="Group 78"/>
            <p:cNvGrpSpPr/>
            <p:nvPr/>
          </p:nvGrpSpPr>
          <p:grpSpPr>
            <a:xfrm>
              <a:off x="8803169" y="1348540"/>
              <a:ext cx="1645202" cy="1845743"/>
              <a:chOff x="8768394" y="2269163"/>
              <a:chExt cx="1645202" cy="1845743"/>
            </a:xfrm>
          </p:grpSpPr>
          <p:sp>
            <p:nvSpPr>
              <p:cNvPr id="29" name="TextBox 28"/>
              <p:cNvSpPr txBox="1"/>
              <p:nvPr/>
            </p:nvSpPr>
            <p:spPr>
              <a:xfrm>
                <a:off x="8768394" y="3745574"/>
                <a:ext cx="1584799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2400" spc="-70" dirty="0" err="1">
                    <a:solidFill>
                      <a:schemeClr val="bg1"/>
                    </a:solidFill>
                    <a:latin typeface="+mj-lt"/>
                  </a:rPr>
                  <a:t>Comunidades</a:t>
                </a:r>
                <a:endParaRPr lang="en-US" sz="2400" spc="-70" dirty="0">
                  <a:solidFill>
                    <a:schemeClr val="bg1"/>
                  </a:solidFill>
                  <a:latin typeface="+mj-lt"/>
                </a:endParaRPr>
              </a:p>
            </p:txBody>
          </p:sp>
          <p:pic>
            <p:nvPicPr>
              <p:cNvPr id="67" name="Picture 2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auto">
              <a:xfrm>
                <a:off x="8799556" y="2269163"/>
                <a:ext cx="1614040" cy="161404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82" name="Group 81"/>
          <p:cNvGrpSpPr/>
          <p:nvPr/>
        </p:nvGrpSpPr>
        <p:grpSpPr>
          <a:xfrm>
            <a:off x="845286" y="3461259"/>
            <a:ext cx="1691278" cy="1832891"/>
            <a:chOff x="102293" y="3325334"/>
            <a:chExt cx="1691278" cy="1832891"/>
          </a:xfrm>
        </p:grpSpPr>
        <p:sp>
          <p:nvSpPr>
            <p:cNvPr id="35" name="Rectangle 34"/>
            <p:cNvSpPr/>
            <p:nvPr/>
          </p:nvSpPr>
          <p:spPr bwMode="auto">
            <a:xfrm>
              <a:off x="102293" y="3332062"/>
              <a:ext cx="1584799" cy="176348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120650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z="28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itchFamily="34" charset="0"/>
                <a:ea typeface="Segoe UI" pitchFamily="34" charset="0"/>
                <a:cs typeface="Segoe Pro Light"/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102293" y="4788893"/>
              <a:ext cx="158479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400" spc="-70" dirty="0">
                  <a:solidFill>
                    <a:schemeClr val="bg1"/>
                  </a:solidFill>
                  <a:latin typeface="+mj-lt"/>
                </a:rPr>
                <a:t>Visio</a:t>
              </a:r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ackgroundRemoval t="9766" b="89844" l="9766" r="98828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2689" y="3325334"/>
              <a:ext cx="1400882" cy="1400882"/>
            </a:xfrm>
            <a:prstGeom prst="rect">
              <a:avLst/>
            </a:prstGeom>
          </p:spPr>
        </p:pic>
      </p:grpSp>
      <p:grpSp>
        <p:nvGrpSpPr>
          <p:cNvPr id="83" name="Group 82"/>
          <p:cNvGrpSpPr/>
          <p:nvPr/>
        </p:nvGrpSpPr>
        <p:grpSpPr>
          <a:xfrm>
            <a:off x="2560391" y="3467987"/>
            <a:ext cx="1584799" cy="1826163"/>
            <a:chOff x="1817397" y="3332062"/>
            <a:chExt cx="1584799" cy="1826163"/>
          </a:xfrm>
        </p:grpSpPr>
        <p:sp>
          <p:nvSpPr>
            <p:cNvPr id="38" name="Rectangle 37"/>
            <p:cNvSpPr/>
            <p:nvPr/>
          </p:nvSpPr>
          <p:spPr bwMode="auto">
            <a:xfrm>
              <a:off x="1817397" y="3332062"/>
              <a:ext cx="1584799" cy="176348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120650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z="28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itchFamily="34" charset="0"/>
                <a:ea typeface="Segoe UI" pitchFamily="34" charset="0"/>
                <a:cs typeface="Segoe Pro Light"/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1817397" y="4788893"/>
              <a:ext cx="158479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400" spc="-70" dirty="0">
                  <a:solidFill>
                    <a:schemeClr val="bg1"/>
                  </a:solidFill>
                  <a:latin typeface="+mj-lt"/>
                </a:rPr>
                <a:t>Workflows</a:t>
              </a:r>
            </a:p>
          </p:txBody>
        </p:sp>
        <p:sp>
          <p:nvSpPr>
            <p:cNvPr id="12" name="Circular Arrow 11"/>
            <p:cNvSpPr/>
            <p:nvPr/>
          </p:nvSpPr>
          <p:spPr bwMode="auto">
            <a:xfrm rot="18011280">
              <a:off x="1951463" y="3488348"/>
              <a:ext cx="1103384" cy="1134710"/>
            </a:xfrm>
            <a:prstGeom prst="circularArrow">
              <a:avLst>
                <a:gd name="adj1" fmla="val 12500"/>
                <a:gd name="adj2" fmla="val 1142319"/>
                <a:gd name="adj3" fmla="val 20457681"/>
                <a:gd name="adj4" fmla="val 1372249"/>
                <a:gd name="adj5" fmla="val 18840"/>
              </a:avLst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182880" tIns="182880" rIns="182880" bIns="45718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Condensed" pitchFamily="34" charset="0"/>
              </a:endParaRPr>
            </a:p>
          </p:txBody>
        </p:sp>
      </p:grpSp>
      <p:grpSp>
        <p:nvGrpSpPr>
          <p:cNvPr id="84" name="Group 83"/>
          <p:cNvGrpSpPr/>
          <p:nvPr/>
        </p:nvGrpSpPr>
        <p:grpSpPr>
          <a:xfrm>
            <a:off x="4227255" y="3452192"/>
            <a:ext cx="1659165" cy="1810225"/>
            <a:chOff x="3484261" y="3316267"/>
            <a:chExt cx="1659165" cy="1810225"/>
          </a:xfrm>
        </p:grpSpPr>
        <p:sp>
          <p:nvSpPr>
            <p:cNvPr id="41" name="Rectangle 40"/>
            <p:cNvSpPr/>
            <p:nvPr/>
          </p:nvSpPr>
          <p:spPr bwMode="auto">
            <a:xfrm>
              <a:off x="3558627" y="3316267"/>
              <a:ext cx="1584799" cy="176348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120650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z="28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itchFamily="34" charset="0"/>
                <a:ea typeface="Segoe UI" pitchFamily="34" charset="0"/>
                <a:cs typeface="Segoe Pro Light"/>
              </a:endParaRPr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3484261" y="4757160"/>
              <a:ext cx="158479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400" spc="-70" dirty="0">
                  <a:solidFill>
                    <a:schemeClr val="bg1"/>
                  </a:solidFill>
                  <a:latin typeface="+mj-lt"/>
                </a:rPr>
                <a:t>Office Web</a:t>
              </a:r>
            </a:p>
          </p:txBody>
        </p:sp>
        <p:pic>
          <p:nvPicPr>
            <p:cNvPr id="2050" name="Picture 2" descr="http://icons.iconarchive.com/icons/cornmanthe3rd/plex/512/Other-office-icon.png"/>
            <p:cNvPicPr>
              <a:picLocks noChangeAspect="1" noChangeArrowheads="1"/>
            </p:cNvPicPr>
            <p:nvPr/>
          </p:nvPicPr>
          <p:blipFill>
            <a:blip r:embed="rId12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73019" y="3454609"/>
              <a:ext cx="1082468" cy="10824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6" name="Group 85"/>
          <p:cNvGrpSpPr/>
          <p:nvPr/>
        </p:nvGrpSpPr>
        <p:grpSpPr>
          <a:xfrm>
            <a:off x="7757955" y="3450803"/>
            <a:ext cx="1610925" cy="1826163"/>
            <a:chOff x="7014961" y="3314878"/>
            <a:chExt cx="1610925" cy="1826163"/>
          </a:xfrm>
        </p:grpSpPr>
        <p:sp>
          <p:nvSpPr>
            <p:cNvPr id="47" name="Rectangle 46"/>
            <p:cNvSpPr/>
            <p:nvPr/>
          </p:nvSpPr>
          <p:spPr bwMode="auto">
            <a:xfrm>
              <a:off x="7041087" y="3314878"/>
              <a:ext cx="1584799" cy="176348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120650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z="28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itchFamily="34" charset="0"/>
                <a:ea typeface="Segoe UI" pitchFamily="34" charset="0"/>
                <a:cs typeface="Segoe Pro Light"/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7014961" y="4771709"/>
              <a:ext cx="158479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400" spc="-70" dirty="0">
                  <a:solidFill>
                    <a:schemeClr val="bg1"/>
                  </a:solidFill>
                  <a:latin typeface="+mj-lt"/>
                </a:rPr>
                <a:t>BI</a:t>
              </a:r>
            </a:p>
          </p:txBody>
        </p:sp>
        <p:pic>
          <p:nvPicPr>
            <p:cNvPr id="71" name="Picture 4" descr="\\MAGNUM\Projects\Microsoft\Cloud Power FY12\Design\ICONS_PNG\Scalable_Elastic.png"/>
            <p:cNvPicPr>
              <a:picLocks noChangeAspect="1" noChangeArrowheads="1"/>
            </p:cNvPicPr>
            <p:nvPr>
              <p:custDataLst>
                <p:tags r:id="rId1"/>
              </p:custDataLst>
            </p:nvPr>
          </p:nvPicPr>
          <p:blipFill rotWithShape="1">
            <a:blip r:embed="rId13" cstate="print">
              <a:lum bright="100000"/>
            </a:blip>
            <a:srcRect l="8232" t="8547" r="8114" b="8279"/>
            <a:stretch/>
          </p:blipFill>
          <p:spPr bwMode="auto">
            <a:xfrm>
              <a:off x="7351896" y="3559326"/>
              <a:ext cx="973532" cy="967935"/>
            </a:xfrm>
            <a:prstGeom prst="rect">
              <a:avLst/>
            </a:prstGeom>
            <a:noFill/>
          </p:spPr>
        </p:pic>
      </p:grpSp>
      <p:grpSp>
        <p:nvGrpSpPr>
          <p:cNvPr id="87" name="Group 86"/>
          <p:cNvGrpSpPr/>
          <p:nvPr/>
        </p:nvGrpSpPr>
        <p:grpSpPr>
          <a:xfrm>
            <a:off x="9528941" y="3470465"/>
            <a:ext cx="1584799" cy="1826163"/>
            <a:chOff x="8785947" y="3334540"/>
            <a:chExt cx="1584799" cy="1826163"/>
          </a:xfrm>
        </p:grpSpPr>
        <p:sp>
          <p:nvSpPr>
            <p:cNvPr id="50" name="Rectangle 49"/>
            <p:cNvSpPr/>
            <p:nvPr/>
          </p:nvSpPr>
          <p:spPr bwMode="auto">
            <a:xfrm>
              <a:off x="8785947" y="3334540"/>
              <a:ext cx="1584799" cy="176348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120650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z="28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itchFamily="34" charset="0"/>
                <a:ea typeface="Segoe UI" pitchFamily="34" charset="0"/>
                <a:cs typeface="Segoe Pro Light"/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8785947" y="4791371"/>
              <a:ext cx="158479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400" spc="-70" dirty="0">
                  <a:solidFill>
                    <a:schemeClr val="bg1"/>
                  </a:solidFill>
                  <a:latin typeface="+mj-lt"/>
                </a:rPr>
                <a:t>Mobile</a:t>
              </a:r>
            </a:p>
          </p:txBody>
        </p:sp>
        <p:pic>
          <p:nvPicPr>
            <p:cNvPr id="72" name="Picture 2" descr="\\MAGNUM\Projects\Microsoft\Cloud Power FY12\Design\ICONS_PNG\Devices.png"/>
            <p:cNvPicPr>
              <a:picLocks noChangeAspect="1" noChangeArrowheads="1"/>
            </p:cNvPicPr>
            <p:nvPr/>
          </p:nvPicPr>
          <p:blipFill>
            <a:blip r:embed="rId14" cstate="print">
              <a:biLevel thresh="25000"/>
            </a:blip>
            <a:srcRect/>
            <a:stretch>
              <a:fillRect/>
            </a:stretch>
          </p:blipFill>
          <p:spPr bwMode="auto">
            <a:xfrm>
              <a:off x="8936695" y="3504808"/>
              <a:ext cx="1156800" cy="1156800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2384579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1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1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1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1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1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1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1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1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1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1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1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1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1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1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2" presetClass="entr" presetSubtype="2" fill="hold" nodeType="click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R" dirty="0" smtClean="0"/>
              <a:t>Para una solución ECM</a:t>
            </a:r>
            <a:endParaRPr lang="es-CR" dirty="0"/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520701" y="228600"/>
            <a:ext cx="11149013" cy="997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100" baseline="0">
                <a:ln w="3175">
                  <a:noFill/>
                </a:ln>
                <a:solidFill>
                  <a:srgbClr val="0072C6"/>
                </a:soli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endParaRPr lang="en-US" sz="2400" dirty="0"/>
          </a:p>
        </p:txBody>
      </p:sp>
      <p:sp>
        <p:nvSpPr>
          <p:cNvPr id="4" name="Rectangle 3"/>
          <p:cNvSpPr/>
          <p:nvPr/>
        </p:nvSpPr>
        <p:spPr bwMode="auto">
          <a:xfrm>
            <a:off x="5243751" y="1609400"/>
            <a:ext cx="1226254" cy="1258237"/>
          </a:xfrm>
          <a:prstGeom prst="rect">
            <a:avLst/>
          </a:prstGeom>
          <a:solidFill>
            <a:srgbClr val="0071BC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UY" spc="-1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Metadatos</a:t>
            </a:r>
          </a:p>
        </p:txBody>
      </p:sp>
      <p:sp>
        <p:nvSpPr>
          <p:cNvPr id="5" name="Rectangle 4"/>
          <p:cNvSpPr/>
          <p:nvPr/>
        </p:nvSpPr>
        <p:spPr bwMode="auto">
          <a:xfrm>
            <a:off x="6544611" y="1609400"/>
            <a:ext cx="1226254" cy="1258237"/>
          </a:xfrm>
          <a:prstGeom prst="rect">
            <a:avLst/>
          </a:prstGeom>
          <a:solidFill>
            <a:srgbClr val="0071BC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UY" spc="-1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Tipos  de Contenidos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3943920" y="1609401"/>
            <a:ext cx="1226254" cy="1258237"/>
          </a:xfrm>
          <a:prstGeom prst="rect">
            <a:avLst/>
          </a:prstGeom>
          <a:solidFill>
            <a:srgbClr val="0071BC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UY" spc="-1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WCM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7843409" y="1609400"/>
            <a:ext cx="1226254" cy="1258237"/>
          </a:xfrm>
          <a:prstGeom prst="rect">
            <a:avLst/>
          </a:prstGeom>
          <a:solidFill>
            <a:srgbClr val="0071BC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UY" spc="-1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Flujos de 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UY" spc="-1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Trabajo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3943922" y="2938480"/>
            <a:ext cx="1226255" cy="1013819"/>
          </a:xfrm>
          <a:prstGeom prst="rect">
            <a:avLst/>
          </a:prstGeom>
          <a:solidFill>
            <a:srgbClr val="0070C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UY" spc="-1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Ruteo de 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UY" sz="1700" spc="-1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Documentos</a:t>
            </a:r>
          </a:p>
        </p:txBody>
      </p:sp>
      <p:sp>
        <p:nvSpPr>
          <p:cNvPr id="9" name="Rectangle 8"/>
          <p:cNvSpPr/>
          <p:nvPr/>
        </p:nvSpPr>
        <p:spPr bwMode="auto">
          <a:xfrm>
            <a:off x="3943922" y="5039820"/>
            <a:ext cx="1226254" cy="1258237"/>
          </a:xfrm>
          <a:prstGeom prst="rect">
            <a:avLst/>
          </a:prstGeom>
          <a:solidFill>
            <a:srgbClr val="FF82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UY" spc="-1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Arquitectura Escalable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5243751" y="5039820"/>
            <a:ext cx="1226254" cy="1258237"/>
          </a:xfrm>
          <a:prstGeom prst="rect">
            <a:avLst/>
          </a:prstGeom>
          <a:solidFill>
            <a:srgbClr val="FF82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UY" spc="-1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BD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UY" spc="-1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Distribuidas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6543580" y="5039820"/>
            <a:ext cx="1226254" cy="1258237"/>
          </a:xfrm>
          <a:prstGeom prst="rect">
            <a:avLst/>
          </a:prstGeom>
          <a:solidFill>
            <a:srgbClr val="FF82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UY" spc="-1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Seguridad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UY" spc="-1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Integrada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7843409" y="5039820"/>
            <a:ext cx="1226254" cy="1258237"/>
          </a:xfrm>
          <a:prstGeom prst="rect">
            <a:avLst/>
          </a:prstGeom>
          <a:solidFill>
            <a:srgbClr val="FF82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UY" spc="-1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API</a:t>
            </a:r>
          </a:p>
        </p:txBody>
      </p:sp>
      <p:sp>
        <p:nvSpPr>
          <p:cNvPr id="14" name="Rectangle 13"/>
          <p:cNvSpPr/>
          <p:nvPr/>
        </p:nvSpPr>
        <p:spPr bwMode="auto">
          <a:xfrm>
            <a:off x="3943921" y="3952300"/>
            <a:ext cx="5125741" cy="1009294"/>
          </a:xfrm>
          <a:prstGeom prst="rect">
            <a:avLst/>
          </a:prstGeom>
          <a:solidFill>
            <a:srgbClr val="FF82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UY" spc="-1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Servicios centralizados ,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UY" spc="-1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Búsqueda, Taxonomía, BCS,  Social  </a:t>
            </a:r>
          </a:p>
        </p:txBody>
      </p:sp>
      <p:sp>
        <p:nvSpPr>
          <p:cNvPr id="15" name="Rectangle 14"/>
          <p:cNvSpPr/>
          <p:nvPr/>
        </p:nvSpPr>
        <p:spPr bwMode="auto">
          <a:xfrm>
            <a:off x="2227278" y="3952299"/>
            <a:ext cx="1629684" cy="2345758"/>
          </a:xfrm>
          <a:prstGeom prst="rect">
            <a:avLst/>
          </a:prstGeom>
          <a:solidFill>
            <a:srgbClr val="FF82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UY" spc="-1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Plataforma</a:t>
            </a:r>
          </a:p>
        </p:txBody>
      </p:sp>
      <p:sp>
        <p:nvSpPr>
          <p:cNvPr id="16" name="Rectangle 15"/>
          <p:cNvSpPr/>
          <p:nvPr/>
        </p:nvSpPr>
        <p:spPr bwMode="auto">
          <a:xfrm>
            <a:off x="2227278" y="1609400"/>
            <a:ext cx="1629684" cy="2342900"/>
          </a:xfrm>
          <a:prstGeom prst="rect">
            <a:avLst/>
          </a:prstGeom>
          <a:solidFill>
            <a:srgbClr val="0070C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UY" spc="-1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ECM</a:t>
            </a:r>
          </a:p>
        </p:txBody>
      </p:sp>
      <p:sp>
        <p:nvSpPr>
          <p:cNvPr id="22" name="Rectangle 21"/>
          <p:cNvSpPr/>
          <p:nvPr/>
        </p:nvSpPr>
        <p:spPr bwMode="auto">
          <a:xfrm>
            <a:off x="5262344" y="2938482"/>
            <a:ext cx="1226255" cy="1013819"/>
          </a:xfrm>
          <a:prstGeom prst="rect">
            <a:avLst/>
          </a:prstGeom>
          <a:solidFill>
            <a:srgbClr val="0070C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UY" spc="-1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Manejo de Registros</a:t>
            </a:r>
          </a:p>
        </p:txBody>
      </p:sp>
      <p:sp>
        <p:nvSpPr>
          <p:cNvPr id="23" name="Rectangle 22"/>
          <p:cNvSpPr/>
          <p:nvPr/>
        </p:nvSpPr>
        <p:spPr bwMode="auto">
          <a:xfrm>
            <a:off x="6562173" y="2938481"/>
            <a:ext cx="1226255" cy="1013819"/>
          </a:xfrm>
          <a:prstGeom prst="rect">
            <a:avLst/>
          </a:prstGeom>
          <a:solidFill>
            <a:srgbClr val="0070C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UY" spc="-1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Conjunto de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UY" sz="1700" spc="-1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Documentos</a:t>
            </a:r>
          </a:p>
        </p:txBody>
      </p:sp>
      <p:sp>
        <p:nvSpPr>
          <p:cNvPr id="25" name="Rectangle 24"/>
          <p:cNvSpPr/>
          <p:nvPr/>
        </p:nvSpPr>
        <p:spPr bwMode="auto">
          <a:xfrm>
            <a:off x="7843410" y="2939320"/>
            <a:ext cx="1226255" cy="1013819"/>
          </a:xfrm>
          <a:prstGeom prst="rect">
            <a:avLst/>
          </a:prstGeom>
          <a:solidFill>
            <a:srgbClr val="0070C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UY" spc="-1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Etiquetas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UY" spc="-1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Valoración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UY" spc="-1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Social</a:t>
            </a:r>
          </a:p>
        </p:txBody>
      </p:sp>
    </p:spTree>
    <p:extLst>
      <p:ext uri="{BB962C8B-B14F-4D97-AF65-F5344CB8AC3E}">
        <p14:creationId xmlns:p14="http://schemas.microsoft.com/office/powerpoint/2010/main" val="42418391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000"/>
                            </p:stCondLst>
                            <p:childTnLst>
                              <p:par>
                                <p:cTn id="3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000"/>
                            </p:stCondLst>
                            <p:childTnLst>
                              <p:par>
                                <p:cTn id="41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1500"/>
                            </p:stCondLst>
                            <p:childTnLst>
                              <p:par>
                                <p:cTn id="46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2000"/>
                            </p:stCondLst>
                            <p:childTnLst>
                              <p:par>
                                <p:cTn id="51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2500"/>
                            </p:stCondLst>
                            <p:childTnLst>
                              <p:par>
                                <p:cTn id="56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3000"/>
                            </p:stCondLst>
                            <p:childTnLst>
                              <p:par>
                                <p:cTn id="61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3500"/>
                            </p:stCondLst>
                            <p:childTnLst>
                              <p:par>
                                <p:cTn id="66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4000"/>
                            </p:stCondLst>
                            <p:childTnLst>
                              <p:par>
                                <p:cTn id="71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4500"/>
                            </p:stCondLst>
                            <p:childTnLst>
                              <p:par>
                                <p:cTn id="76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4" grpId="0" animBg="1"/>
      <p:bldP spid="15" grpId="0" animBg="1"/>
      <p:bldP spid="16" grpId="0" animBg="1"/>
      <p:bldP spid="22" grpId="0" animBg="1"/>
      <p:bldP spid="23" grpId="0" animBg="1"/>
      <p:bldP spid="25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s-US" spc="-70" dirty="0"/>
              <a:t>Crear - </a:t>
            </a:r>
            <a:r>
              <a:rPr lang="es-US" spc="-70" dirty="0" smtClean="0"/>
              <a:t>Capturar</a:t>
            </a:r>
            <a:endParaRPr lang="es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/>
      </p:sp>
      <p:pic>
        <p:nvPicPr>
          <p:cNvPr id="6" name="Picture 3" descr="\\MAGNUM\Projects\Microsoft\Cloud Power FY12\Design\ICONS_PNG\Document.png"/>
          <p:cNvPicPr>
            <a:picLocks noChangeAspect="1" noChangeArrowheads="1"/>
          </p:cNvPicPr>
          <p:nvPr/>
        </p:nvPicPr>
        <p:blipFill>
          <a:blip r:embed="rId2" cstate="print">
            <a:lum bright="100000"/>
          </a:blip>
          <a:stretch>
            <a:fillRect/>
          </a:stretch>
        </p:blipFill>
        <p:spPr bwMode="auto">
          <a:xfrm>
            <a:off x="7680960" y="3725881"/>
            <a:ext cx="2926080" cy="292608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981045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R" dirty="0" smtClean="0"/>
              <a:t>Tipos de Contenidos</a:t>
            </a:r>
            <a:endParaRPr lang="es-CR" dirty="0"/>
          </a:p>
        </p:txBody>
      </p:sp>
      <p:sp>
        <p:nvSpPr>
          <p:cNvPr id="3" name="Rectangle 2"/>
          <p:cNvSpPr/>
          <p:nvPr/>
        </p:nvSpPr>
        <p:spPr bwMode="auto">
          <a:xfrm>
            <a:off x="7114104" y="3759480"/>
            <a:ext cx="1877135" cy="187713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Manejo 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Centralizado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9081286" y="3759479"/>
            <a:ext cx="1877135" cy="187713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Procesos de negocio y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Políticas</a:t>
            </a:r>
            <a:endParaRPr lang="es-CR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9081288" y="1774197"/>
            <a:ext cx="1877135" cy="187713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Asociación de metadatos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7114104" y="1774200"/>
            <a:ext cx="1877135" cy="187713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Plantillas de documentos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Word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Excel</a:t>
            </a:r>
          </a:p>
        </p:txBody>
      </p:sp>
      <p:sp>
        <p:nvSpPr>
          <p:cNvPr id="7" name="Title 2"/>
          <p:cNvSpPr txBox="1">
            <a:spLocks/>
          </p:cNvSpPr>
          <p:nvPr/>
        </p:nvSpPr>
        <p:spPr>
          <a:xfrm>
            <a:off x="520701" y="228601"/>
            <a:ext cx="11149013" cy="74789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100" baseline="0">
                <a:ln w="3175">
                  <a:noFill/>
                </a:ln>
                <a:solidFill>
                  <a:srgbClr val="0072C6"/>
                </a:soli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endParaRPr lang="es-CR" dirty="0"/>
          </a:p>
        </p:txBody>
      </p:sp>
      <p:pic>
        <p:nvPicPr>
          <p:cNvPr id="11266" name="Picture 2" descr="http://sptechnet.files.wordpress.com/2011/05/new-file-sharepoint-2010.png?w=645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365"/>
          <a:stretch/>
        </p:blipFill>
        <p:spPr bwMode="auto">
          <a:xfrm>
            <a:off x="700000" y="1780544"/>
            <a:ext cx="6009357" cy="38624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63495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112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112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500"/>
                            </p:stCondLst>
                            <p:childTnLst>
                              <p:par>
                                <p:cTn id="1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1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1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3000"/>
                            </p:stCondLst>
                            <p:childTnLst>
                              <p:par>
                                <p:cTn id="1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1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4500"/>
                            </p:stCondLst>
                            <p:childTnLst>
                              <p:par>
                                <p:cTn id="2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6000"/>
                            </p:stCondLst>
                            <p:childTnLst>
                              <p:par>
                                <p:cTn id="2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7114104" y="3759480"/>
            <a:ext cx="1877135" cy="187713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Palabras  Claves 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9081286" y="3759479"/>
            <a:ext cx="1877135" cy="187713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Navegación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Búsquedas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Vinculación con Documentos y Registros</a:t>
            </a:r>
          </a:p>
        </p:txBody>
      </p:sp>
      <p:sp>
        <p:nvSpPr>
          <p:cNvPr id="5" name="Rectangle 4"/>
          <p:cNvSpPr/>
          <p:nvPr/>
        </p:nvSpPr>
        <p:spPr bwMode="auto">
          <a:xfrm>
            <a:off x="9081288" y="1774197"/>
            <a:ext cx="1877135" cy="187713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Almacenes globales o  por departamentos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7114104" y="1774200"/>
            <a:ext cx="1877135" cy="187713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Conjuntos de Términos </a:t>
            </a:r>
          </a:p>
        </p:txBody>
      </p:sp>
      <p:sp>
        <p:nvSpPr>
          <p:cNvPr id="7" name="Title 2"/>
          <p:cNvSpPr txBox="1">
            <a:spLocks/>
          </p:cNvSpPr>
          <p:nvPr/>
        </p:nvSpPr>
        <p:spPr>
          <a:xfrm>
            <a:off x="520701" y="228601"/>
            <a:ext cx="11149013" cy="74789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100" baseline="0">
                <a:ln w="3175">
                  <a:noFill/>
                </a:ln>
                <a:solidFill>
                  <a:srgbClr val="0072C6"/>
                </a:soli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endParaRPr lang="es-CR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US" dirty="0" smtClean="0"/>
              <a:t>Metadatos</a:t>
            </a:r>
            <a:endParaRPr lang="es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/>
          <a:srcRect b="14651"/>
          <a:stretch/>
        </p:blipFill>
        <p:spPr>
          <a:xfrm>
            <a:off x="274641" y="1774197"/>
            <a:ext cx="6646859" cy="3851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8450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500"/>
                            </p:stCondLst>
                            <p:childTnLst>
                              <p:par>
                                <p:cTn id="1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1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1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3000"/>
                            </p:stCondLst>
                            <p:childTnLst>
                              <p:par>
                                <p:cTn id="1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4500"/>
                            </p:stCondLst>
                            <p:childTnLst>
                              <p:par>
                                <p:cTn id="2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37360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R" dirty="0" smtClean="0"/>
              <a:t>Conjunto de Documentos</a:t>
            </a:r>
            <a:endParaRPr lang="es-CR" dirty="0"/>
          </a:p>
        </p:txBody>
      </p:sp>
      <p:sp>
        <p:nvSpPr>
          <p:cNvPr id="7" name="Title 2"/>
          <p:cNvSpPr txBox="1">
            <a:spLocks/>
          </p:cNvSpPr>
          <p:nvPr/>
        </p:nvSpPr>
        <p:spPr>
          <a:xfrm>
            <a:off x="520701" y="228601"/>
            <a:ext cx="11149013" cy="74789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100" baseline="0">
                <a:ln w="3175">
                  <a:noFill/>
                </a:ln>
                <a:solidFill>
                  <a:srgbClr val="0072C6"/>
                </a:soli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endParaRPr lang="es-CR" dirty="0"/>
          </a:p>
        </p:txBody>
      </p:sp>
      <p:sp>
        <p:nvSpPr>
          <p:cNvPr id="12" name="Rectangle 11"/>
          <p:cNvSpPr/>
          <p:nvPr/>
        </p:nvSpPr>
        <p:spPr bwMode="auto">
          <a:xfrm>
            <a:off x="7114104" y="3759480"/>
            <a:ext cx="1877135" cy="187713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Políticas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Versiones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Procesos </a:t>
            </a:r>
          </a:p>
        </p:txBody>
      </p:sp>
      <p:sp>
        <p:nvSpPr>
          <p:cNvPr id="13" name="Rectangle 12"/>
          <p:cNvSpPr/>
          <p:nvPr/>
        </p:nvSpPr>
        <p:spPr bwMode="auto">
          <a:xfrm>
            <a:off x="9081286" y="3759479"/>
            <a:ext cx="1877135" cy="187713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Documentos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Predeterminados</a:t>
            </a:r>
          </a:p>
        </p:txBody>
      </p:sp>
      <p:sp>
        <p:nvSpPr>
          <p:cNvPr id="14" name="Rectangle 13"/>
          <p:cNvSpPr/>
          <p:nvPr/>
        </p:nvSpPr>
        <p:spPr bwMode="auto">
          <a:xfrm>
            <a:off x="9081288" y="1774197"/>
            <a:ext cx="1877135" cy="187713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Herencia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De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Metadatos</a:t>
            </a:r>
          </a:p>
        </p:txBody>
      </p:sp>
      <p:sp>
        <p:nvSpPr>
          <p:cNvPr id="15" name="Rectangle 14"/>
          <p:cNvSpPr/>
          <p:nvPr/>
        </p:nvSpPr>
        <p:spPr bwMode="auto">
          <a:xfrm>
            <a:off x="7114104" y="1774200"/>
            <a:ext cx="1877135" cy="187713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Administración 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Colecciones 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de Documentos</a:t>
            </a:r>
          </a:p>
        </p:txBody>
      </p:sp>
      <p:pic>
        <p:nvPicPr>
          <p:cNvPr id="8196" name="Picture 4" descr="http://blogs.msdn.com/cfs-file.ashx/__key/communityserver-blogs-components-weblogfiles/00-00-00-64-41-metablogapi/8267.clip_5F00_image002_5F00_thumb_5F00_5AE7FBD4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06" r="7758"/>
          <a:stretch/>
        </p:blipFill>
        <p:spPr bwMode="auto">
          <a:xfrm>
            <a:off x="663386" y="1774196"/>
            <a:ext cx="6093845" cy="38624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950773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81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81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500"/>
                            </p:stCondLst>
                            <p:childTnLst>
                              <p:par>
                                <p:cTn id="1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1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1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3000"/>
                            </p:stCondLst>
                            <p:childTnLst>
                              <p:par>
                                <p:cTn id="1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1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4500"/>
                            </p:stCondLst>
                            <p:childTnLst>
                              <p:par>
                                <p:cTn id="2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1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1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6000"/>
                            </p:stCondLst>
                            <p:childTnLst>
                              <p:par>
                                <p:cTn id="2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 animBg="1"/>
      <p:bldP spid="15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R" dirty="0" smtClean="0"/>
              <a:t>Social…</a:t>
            </a:r>
            <a:endParaRPr lang="es-CR" dirty="0"/>
          </a:p>
        </p:txBody>
      </p:sp>
      <p:sp>
        <p:nvSpPr>
          <p:cNvPr id="7" name="Title 2"/>
          <p:cNvSpPr txBox="1">
            <a:spLocks/>
          </p:cNvSpPr>
          <p:nvPr/>
        </p:nvSpPr>
        <p:spPr>
          <a:xfrm>
            <a:off x="520701" y="228601"/>
            <a:ext cx="11149013" cy="74789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100" baseline="0">
                <a:ln w="3175">
                  <a:noFill/>
                </a:ln>
                <a:solidFill>
                  <a:srgbClr val="0072C6"/>
                </a:soli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endParaRPr lang="es-CR" dirty="0"/>
          </a:p>
        </p:txBody>
      </p:sp>
      <p:sp>
        <p:nvSpPr>
          <p:cNvPr id="12" name="Rectangle 11"/>
          <p:cNvSpPr/>
          <p:nvPr/>
        </p:nvSpPr>
        <p:spPr bwMode="auto">
          <a:xfrm>
            <a:off x="7114104" y="3759480"/>
            <a:ext cx="1877135" cy="187713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Seguir</a:t>
            </a:r>
            <a:endParaRPr lang="es-CR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9081286" y="3759479"/>
            <a:ext cx="1877135" cy="187713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Comentarios 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de los 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Usuarios</a:t>
            </a:r>
          </a:p>
        </p:txBody>
      </p:sp>
      <p:sp>
        <p:nvSpPr>
          <p:cNvPr id="14" name="Rectangle 13"/>
          <p:cNvSpPr/>
          <p:nvPr/>
        </p:nvSpPr>
        <p:spPr bwMode="auto">
          <a:xfrm>
            <a:off x="9081288" y="1774197"/>
            <a:ext cx="1877135" cy="187713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Palabras 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Claves</a:t>
            </a:r>
          </a:p>
        </p:txBody>
      </p:sp>
      <p:sp>
        <p:nvSpPr>
          <p:cNvPr id="15" name="Rectangle 14"/>
          <p:cNvSpPr/>
          <p:nvPr/>
        </p:nvSpPr>
        <p:spPr bwMode="auto">
          <a:xfrm>
            <a:off x="7114104" y="1774200"/>
            <a:ext cx="1877135" cy="187713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Compartir</a:t>
            </a:r>
            <a:endParaRPr lang="es-CR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4641" y="1827212"/>
            <a:ext cx="6615257" cy="38134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464801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500"/>
                            </p:stCondLst>
                            <p:childTnLst>
                              <p:par>
                                <p:cTn id="1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1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1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3000"/>
                            </p:stCondLst>
                            <p:childTnLst>
                              <p:par>
                                <p:cTn id="1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1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4500"/>
                            </p:stCondLst>
                            <p:childTnLst>
                              <p:par>
                                <p:cTn id="2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1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1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 animBg="1"/>
      <p:bldP spid="15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R" dirty="0" smtClean="0"/>
              <a:t>Administración Contenido Web - WCM </a:t>
            </a:r>
            <a:endParaRPr lang="es-CR" dirty="0"/>
          </a:p>
        </p:txBody>
      </p:sp>
      <p:sp>
        <p:nvSpPr>
          <p:cNvPr id="3" name="Rectangle 2"/>
          <p:cNvSpPr/>
          <p:nvPr/>
        </p:nvSpPr>
        <p:spPr bwMode="auto">
          <a:xfrm>
            <a:off x="7114104" y="3759480"/>
            <a:ext cx="1877135" cy="187713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Manejo 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de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Versiones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9081286" y="3759479"/>
            <a:ext cx="1877135" cy="187713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Sincronización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de contenido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entre Granjas</a:t>
            </a:r>
          </a:p>
        </p:txBody>
      </p:sp>
      <p:sp>
        <p:nvSpPr>
          <p:cNvPr id="5" name="Rectangle 4"/>
          <p:cNvSpPr/>
          <p:nvPr/>
        </p:nvSpPr>
        <p:spPr bwMode="auto">
          <a:xfrm>
            <a:off x="9081288" y="1774197"/>
            <a:ext cx="1877135" cy="187713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Flujos  de trabajo 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7114104" y="1774200"/>
            <a:ext cx="1877135" cy="187713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Manejo y 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Administración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de plantillas</a:t>
            </a:r>
          </a:p>
        </p:txBody>
      </p:sp>
      <p:sp>
        <p:nvSpPr>
          <p:cNvPr id="7" name="Title 2"/>
          <p:cNvSpPr txBox="1">
            <a:spLocks/>
          </p:cNvSpPr>
          <p:nvPr/>
        </p:nvSpPr>
        <p:spPr>
          <a:xfrm>
            <a:off x="520701" y="228601"/>
            <a:ext cx="11149013" cy="74789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100" baseline="0">
                <a:ln w="3175">
                  <a:noFill/>
                </a:ln>
                <a:solidFill>
                  <a:srgbClr val="0072C6"/>
                </a:soli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endParaRPr lang="es-CR" dirty="0"/>
          </a:p>
        </p:txBody>
      </p:sp>
      <p:pic>
        <p:nvPicPr>
          <p:cNvPr id="6146" name="Picture 2" descr="http://www.winsupersite.com/content/content/140006/sp2010_ferrari.jpg;pv8e03c43c7822d6c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171" y="1774199"/>
            <a:ext cx="5909703" cy="38624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5747563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61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61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500"/>
                            </p:stCondLst>
                            <p:childTnLst>
                              <p:par>
                                <p:cTn id="1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1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1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3000"/>
                            </p:stCondLst>
                            <p:childTnLst>
                              <p:par>
                                <p:cTn id="1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1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4500"/>
                            </p:stCondLst>
                            <p:childTnLst>
                              <p:par>
                                <p:cTn id="2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6000"/>
                            </p:stCondLst>
                            <p:childTnLst>
                              <p:par>
                                <p:cTn id="2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96000" y="0"/>
            <a:ext cx="6096000" cy="6846580"/>
          </a:xfrm>
        </p:spPr>
        <p:txBody>
          <a:bodyPr anchor="ctr"/>
          <a:lstStyle/>
          <a:p>
            <a:r>
              <a:rPr lang="es-US" sz="4800" spc="-70" dirty="0"/>
              <a:t>Controlar - </a:t>
            </a:r>
            <a:r>
              <a:rPr lang="es-US" sz="4800" spc="-70" dirty="0" smtClean="0"/>
              <a:t>Administrar</a:t>
            </a:r>
            <a:endParaRPr lang="es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/>
      </p:sp>
      <p:pic>
        <p:nvPicPr>
          <p:cNvPr id="10" name="Picture 7" descr="\\MAGNUM\Projects\Microsoft\Cloud Power FY12\Design\ICONS_PNG\Control.png"/>
          <p:cNvPicPr>
            <a:picLocks noChangeAspect="1" noChangeArrowheads="1"/>
          </p:cNvPicPr>
          <p:nvPr/>
        </p:nvPicPr>
        <p:blipFill>
          <a:blip r:embed="rId2" cstate="print">
            <a:lum bright="100000"/>
          </a:blip>
          <a:srcRect/>
          <a:stretch>
            <a:fillRect/>
          </a:stretch>
        </p:blipFill>
        <p:spPr bwMode="auto">
          <a:xfrm>
            <a:off x="7680960" y="3744545"/>
            <a:ext cx="2926080" cy="292608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40222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R" dirty="0" smtClean="0"/>
              <a:t>Taxonomía</a:t>
            </a:r>
            <a:endParaRPr lang="es-CR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US"/>
          </a:p>
        </p:txBody>
      </p:sp>
      <p:sp>
        <p:nvSpPr>
          <p:cNvPr id="3" name="Rectangle 2"/>
          <p:cNvSpPr/>
          <p:nvPr/>
        </p:nvSpPr>
        <p:spPr bwMode="auto">
          <a:xfrm>
            <a:off x="9081288" y="3759480"/>
            <a:ext cx="1877135" cy="187713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Compartir el Servicio Entre 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Granjas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7114103" y="3759480"/>
            <a:ext cx="1877135" cy="187713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Manejo de 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Idiomas</a:t>
            </a:r>
          </a:p>
        </p:txBody>
      </p:sp>
      <p:sp>
        <p:nvSpPr>
          <p:cNvPr id="5" name="Rectangle 4"/>
          <p:cNvSpPr/>
          <p:nvPr/>
        </p:nvSpPr>
        <p:spPr bwMode="auto">
          <a:xfrm>
            <a:off x="9081288" y="1774196"/>
            <a:ext cx="1877135" cy="187713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Administración 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Descentralizada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7114104" y="1774200"/>
            <a:ext cx="1877135" cy="187713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Metadatos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Corporativos</a:t>
            </a:r>
          </a:p>
        </p:txBody>
      </p:sp>
      <p:sp>
        <p:nvSpPr>
          <p:cNvPr id="7" name="Title 2"/>
          <p:cNvSpPr txBox="1">
            <a:spLocks/>
          </p:cNvSpPr>
          <p:nvPr/>
        </p:nvSpPr>
        <p:spPr>
          <a:xfrm>
            <a:off x="520701" y="228601"/>
            <a:ext cx="11149013" cy="74789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100" baseline="0">
                <a:ln w="3175">
                  <a:noFill/>
                </a:ln>
                <a:solidFill>
                  <a:srgbClr val="0072C6"/>
                </a:soli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endParaRPr lang="es-CR" dirty="0"/>
          </a:p>
        </p:txBody>
      </p:sp>
      <p:pic>
        <p:nvPicPr>
          <p:cNvPr id="1026" name="Picture 2" descr="http://1.bp.blogspot.com/-qR8_9cOyn48/UA28NQAK7KI/AAAAAAAAOSs/mGbYAgrURQI/s1600/term+Store+(Manage+Search+TAXONOMY+)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" t="7970" r="1528" b="13767"/>
          <a:stretch/>
        </p:blipFill>
        <p:spPr bwMode="auto">
          <a:xfrm>
            <a:off x="762000" y="1783816"/>
            <a:ext cx="6250986" cy="373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91793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500"/>
                            </p:stCondLst>
                            <p:childTnLst>
                              <p:par>
                                <p:cTn id="1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1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1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3000"/>
                            </p:stCondLst>
                            <p:childTnLst>
                              <p:par>
                                <p:cTn id="1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4500"/>
                            </p:stCondLst>
                            <p:childTnLst>
                              <p:par>
                                <p:cTn id="2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R" dirty="0" smtClean="0"/>
              <a:t>Búsqueda </a:t>
            </a:r>
            <a:endParaRPr lang="es-CR" dirty="0"/>
          </a:p>
        </p:txBody>
      </p:sp>
      <p:sp>
        <p:nvSpPr>
          <p:cNvPr id="3" name="Rectangle 2"/>
          <p:cNvSpPr/>
          <p:nvPr/>
        </p:nvSpPr>
        <p:spPr bwMode="auto">
          <a:xfrm>
            <a:off x="7114104" y="3759480"/>
            <a:ext cx="1877135" cy="187713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Búsqueda  Avanzada  y  Paneles de Refinamiento basado en Metadatos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9081286" y="3759479"/>
            <a:ext cx="1877135" cy="187713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Búsqueda de </a:t>
            </a:r>
            <a:b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</a:b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Personas</a:t>
            </a:r>
          </a:p>
        </p:txBody>
      </p:sp>
      <p:sp>
        <p:nvSpPr>
          <p:cNvPr id="5" name="Rectangle 4"/>
          <p:cNvSpPr/>
          <p:nvPr/>
        </p:nvSpPr>
        <p:spPr bwMode="auto">
          <a:xfrm>
            <a:off x="9081288" y="1774197"/>
            <a:ext cx="1877135" cy="187713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Páginas de 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Resultados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Según el 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Tipo de Contenido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7114104" y="1774200"/>
            <a:ext cx="1877135" cy="187713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Acceso al 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Contenido 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de los 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Documentos</a:t>
            </a:r>
          </a:p>
        </p:txBody>
      </p:sp>
      <p:sp>
        <p:nvSpPr>
          <p:cNvPr id="7" name="Title 2"/>
          <p:cNvSpPr txBox="1">
            <a:spLocks/>
          </p:cNvSpPr>
          <p:nvPr/>
        </p:nvSpPr>
        <p:spPr>
          <a:xfrm>
            <a:off x="520701" y="228601"/>
            <a:ext cx="11149013" cy="74789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100" baseline="0">
                <a:ln w="3175">
                  <a:noFill/>
                </a:ln>
                <a:solidFill>
                  <a:srgbClr val="0072C6"/>
                </a:soli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endParaRPr lang="es-CR" dirty="0"/>
          </a:p>
        </p:txBody>
      </p:sp>
      <p:pic>
        <p:nvPicPr>
          <p:cNvPr id="2050" name="Picture 2" descr="http://i.stack.imgur.com/naSaA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700" y="1742107"/>
            <a:ext cx="6503354" cy="38945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29649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500"/>
                            </p:stCondLst>
                            <p:childTnLst>
                              <p:par>
                                <p:cTn id="1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1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1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3000"/>
                            </p:stCondLst>
                            <p:childTnLst>
                              <p:par>
                                <p:cTn id="1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4500"/>
                            </p:stCondLst>
                            <p:childTnLst>
                              <p:par>
                                <p:cTn id="2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R" dirty="0"/>
              <a:t>Servicios de </a:t>
            </a:r>
            <a:r>
              <a:rPr lang="es-CR" dirty="0" smtClean="0"/>
              <a:t>Conectividad Empresarial </a:t>
            </a:r>
            <a:r>
              <a:rPr lang="es-CR" dirty="0"/>
              <a:t>(BCS)</a:t>
            </a:r>
          </a:p>
        </p:txBody>
      </p:sp>
      <p:sp>
        <p:nvSpPr>
          <p:cNvPr id="3" name="Rectangle 2"/>
          <p:cNvSpPr/>
          <p:nvPr/>
        </p:nvSpPr>
        <p:spPr bwMode="auto">
          <a:xfrm>
            <a:off x="7114104" y="3759480"/>
            <a:ext cx="3844319" cy="187713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Vinculación Con Documentos</a:t>
            </a:r>
          </a:p>
        </p:txBody>
      </p:sp>
      <p:sp>
        <p:nvSpPr>
          <p:cNvPr id="5" name="Rectangle 4"/>
          <p:cNvSpPr/>
          <p:nvPr/>
        </p:nvSpPr>
        <p:spPr bwMode="auto">
          <a:xfrm>
            <a:off x="9081288" y="1774197"/>
            <a:ext cx="1877135" cy="187713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Metadatos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en Documentos y 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Registros de Listas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7114104" y="1774200"/>
            <a:ext cx="1877135" cy="187713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Orígenes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de datos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Externos</a:t>
            </a:r>
          </a:p>
        </p:txBody>
      </p:sp>
      <p:sp>
        <p:nvSpPr>
          <p:cNvPr id="7" name="Title 2"/>
          <p:cNvSpPr txBox="1">
            <a:spLocks/>
          </p:cNvSpPr>
          <p:nvPr/>
        </p:nvSpPr>
        <p:spPr>
          <a:xfrm>
            <a:off x="520701" y="212835"/>
            <a:ext cx="11149013" cy="74789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100" baseline="0">
                <a:ln w="3175">
                  <a:noFill/>
                </a:ln>
                <a:solidFill>
                  <a:srgbClr val="0072C6"/>
                </a:soli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endParaRPr lang="es-CR" dirty="0"/>
          </a:p>
        </p:txBody>
      </p:sp>
      <p:pic>
        <p:nvPicPr>
          <p:cNvPr id="1026" name="Picture 2" descr="http://t10files.s3.amazonaws.com/wp-content/uploads/2010/03/bcs_image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75" y="1774196"/>
            <a:ext cx="6203277" cy="3862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9835047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500"/>
                            </p:stCondLst>
                            <p:childTnLst>
                              <p:par>
                                <p:cTn id="1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1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1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3000"/>
                            </p:stCondLst>
                            <p:childTnLst>
                              <p:par>
                                <p:cTn id="1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1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4500"/>
                            </p:stCondLst>
                            <p:childTnLst>
                              <p:par>
                                <p:cTn id="2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" grpId="0" animBg="1"/>
      <p:bldP spid="6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96000" y="0"/>
            <a:ext cx="6096000" cy="6846580"/>
          </a:xfrm>
        </p:spPr>
        <p:txBody>
          <a:bodyPr/>
          <a:lstStyle/>
          <a:p>
            <a:pPr algn="ctr"/>
            <a:r>
              <a:rPr lang="es-US" spc="-70" dirty="0" smtClean="0"/>
              <a:t>Proteger</a:t>
            </a:r>
            <a:endParaRPr lang="es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/>
      </p:sp>
      <p:pic>
        <p:nvPicPr>
          <p:cNvPr id="13" name="Picture 15" descr="paper-lock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108438" y="4143701"/>
            <a:ext cx="2071124" cy="23482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08265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R" dirty="0" smtClean="0"/>
              <a:t>Manejo de Registros</a:t>
            </a:r>
            <a:endParaRPr lang="es-CR" dirty="0"/>
          </a:p>
        </p:txBody>
      </p:sp>
      <p:sp>
        <p:nvSpPr>
          <p:cNvPr id="3" name="Rectangle 2"/>
          <p:cNvSpPr/>
          <p:nvPr/>
        </p:nvSpPr>
        <p:spPr bwMode="auto">
          <a:xfrm>
            <a:off x="9081286" y="1774196"/>
            <a:ext cx="1877135" cy="187713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Administración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de Registros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en Bibliotecas 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de Documentos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9081286" y="3759479"/>
            <a:ext cx="1877135" cy="187713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Declaración 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Manual 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y/o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Automática</a:t>
            </a:r>
          </a:p>
        </p:txBody>
      </p:sp>
      <p:sp>
        <p:nvSpPr>
          <p:cNvPr id="5" name="Rectangle 4"/>
          <p:cNvSpPr/>
          <p:nvPr/>
        </p:nvSpPr>
        <p:spPr bwMode="auto">
          <a:xfrm>
            <a:off x="7114103" y="1774196"/>
            <a:ext cx="1877135" cy="187713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Centro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De</a:t>
            </a:r>
          </a:p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Registros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7114102" y="3759478"/>
            <a:ext cx="1877135" cy="187713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UY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Retención y Expiración</a:t>
            </a:r>
          </a:p>
        </p:txBody>
      </p:sp>
      <p:sp>
        <p:nvSpPr>
          <p:cNvPr id="7" name="Title 2"/>
          <p:cNvSpPr txBox="1">
            <a:spLocks/>
          </p:cNvSpPr>
          <p:nvPr/>
        </p:nvSpPr>
        <p:spPr>
          <a:xfrm>
            <a:off x="520701" y="228601"/>
            <a:ext cx="11149013" cy="74789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100" baseline="0">
                <a:ln w="3175">
                  <a:noFill/>
                </a:ln>
                <a:solidFill>
                  <a:srgbClr val="0072C6"/>
                </a:soli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endParaRPr lang="es-CR" dirty="0"/>
          </a:p>
        </p:txBody>
      </p:sp>
      <p:pic>
        <p:nvPicPr>
          <p:cNvPr id="8" name="Picture 2" descr="http://sharepoint.microsoft.com/en-us/ThumbNails/cont_compliance_declare_blog_as_record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521"/>
          <a:stretch/>
        </p:blipFill>
        <p:spPr bwMode="auto">
          <a:xfrm>
            <a:off x="653529" y="1774199"/>
            <a:ext cx="6096000" cy="38624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3591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500"/>
                            </p:stCondLst>
                            <p:childTnLst>
                              <p:par>
                                <p:cTn id="1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1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1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3000"/>
                            </p:stCondLst>
                            <p:childTnLst>
                              <p:par>
                                <p:cTn id="1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4500"/>
                            </p:stCondLst>
                            <p:childTnLst>
                              <p:par>
                                <p:cTn id="2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1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1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6000"/>
                            </p:stCondLst>
                            <p:childTnLst>
                              <p:par>
                                <p:cTn id="2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R" dirty="0" err="1" smtClean="0"/>
              <a:t>eDiscovery</a:t>
            </a:r>
            <a:endParaRPr lang="es-CR" dirty="0"/>
          </a:p>
        </p:txBody>
      </p:sp>
      <p:sp>
        <p:nvSpPr>
          <p:cNvPr id="3" name="Rectangle 2"/>
          <p:cNvSpPr/>
          <p:nvPr/>
        </p:nvSpPr>
        <p:spPr bwMode="auto">
          <a:xfrm>
            <a:off x="9081286" y="1774196"/>
            <a:ext cx="1877135" cy="187713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Exchange</a:t>
            </a:r>
            <a:endParaRPr lang="es-CR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9081286" y="3759479"/>
            <a:ext cx="1877135" cy="187713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Protección de la información</a:t>
            </a:r>
            <a:endParaRPr lang="es-CR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7114103" y="1774196"/>
            <a:ext cx="1877135" cy="187713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CR" sz="2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SharePoint</a:t>
            </a:r>
            <a:endParaRPr lang="es-CR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7114102" y="3759478"/>
            <a:ext cx="1877135" cy="187713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UY" sz="2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Motor de Búsqueda</a:t>
            </a:r>
            <a:endParaRPr lang="es-UY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itle 2"/>
          <p:cNvSpPr txBox="1">
            <a:spLocks/>
          </p:cNvSpPr>
          <p:nvPr/>
        </p:nvSpPr>
        <p:spPr>
          <a:xfrm>
            <a:off x="520701" y="228601"/>
            <a:ext cx="11149013" cy="74789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100" baseline="0">
                <a:ln w="3175">
                  <a:noFill/>
                </a:ln>
                <a:solidFill>
                  <a:srgbClr val="0072C6"/>
                </a:soli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endParaRPr lang="es-CR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76" r="22868" b="6275"/>
          <a:stretch/>
        </p:blipFill>
        <p:spPr>
          <a:xfrm>
            <a:off x="317500" y="1690688"/>
            <a:ext cx="6565900" cy="3945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8553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500"/>
                            </p:stCondLst>
                            <p:childTnLst>
                              <p:par>
                                <p:cTn id="1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3000"/>
                            </p:stCondLst>
                            <p:childTnLst>
                              <p:par>
                                <p:cTn id="1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1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4500"/>
                            </p:stCondLst>
                            <p:childTnLst>
                              <p:par>
                                <p:cTn id="2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arcador de posición de imagen 6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49" b="29997"/>
          <a:stretch/>
        </p:blipFill>
        <p:spPr>
          <a:xfrm>
            <a:off x="924077" y="914400"/>
            <a:ext cx="2267145" cy="2589770"/>
          </a:xfrm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abian Imaz</a:t>
            </a:r>
            <a:endParaRPr lang="es-ES" dirty="0"/>
          </a:p>
        </p:txBody>
      </p:sp>
      <p:sp>
        <p:nvSpPr>
          <p:cNvPr id="16" name="Marcador de texto 15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 smtClean="0"/>
              <a:t>MVP SharePoint Server</a:t>
            </a:r>
            <a:endParaRPr lang="es-ES" dirty="0"/>
          </a:p>
        </p:txBody>
      </p:sp>
      <p:sp>
        <p:nvSpPr>
          <p:cNvPr id="17" name="Marcador de texto 16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 err="1" smtClean="0"/>
              <a:t>SiderysBsn</a:t>
            </a:r>
            <a:endParaRPr lang="es-ES" dirty="0"/>
          </a:p>
        </p:txBody>
      </p:sp>
      <p:sp>
        <p:nvSpPr>
          <p:cNvPr id="18" name="Marcador de texto 17"/>
          <p:cNvSpPr>
            <a:spLocks noGrp="1"/>
          </p:cNvSpPr>
          <p:nvPr>
            <p:ph type="body" sz="quarter" idx="15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 smtClean="0"/>
              <a:t>http://www.siderysbsn.com</a:t>
            </a:r>
            <a:endParaRPr lang="es-ES" dirty="0"/>
          </a:p>
        </p:txBody>
      </p:sp>
      <p:sp>
        <p:nvSpPr>
          <p:cNvPr id="19" name="Marcador de texto 18"/>
          <p:cNvSpPr>
            <a:spLocks noGrp="1"/>
          </p:cNvSpPr>
          <p:nvPr>
            <p:ph type="body" sz="quarter" idx="16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 smtClean="0"/>
              <a:t>http://blog.siderys.com</a:t>
            </a:r>
            <a:endParaRPr lang="es-ES" dirty="0"/>
          </a:p>
        </p:txBody>
      </p:sp>
      <p:sp>
        <p:nvSpPr>
          <p:cNvPr id="20" name="Marcador de texto 19"/>
          <p:cNvSpPr>
            <a:spLocks noGrp="1"/>
          </p:cNvSpPr>
          <p:nvPr>
            <p:ph type="body" sz="quarter" idx="17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 smtClean="0"/>
              <a:t>@</a:t>
            </a:r>
            <a:r>
              <a:rPr lang="en-US" dirty="0" err="1" smtClean="0"/>
              <a:t>fabianimaz</a:t>
            </a:r>
            <a:endParaRPr lang="es-ES" dirty="0"/>
          </a:p>
        </p:txBody>
      </p:sp>
      <p:pic>
        <p:nvPicPr>
          <p:cNvPr id="9" name="Marcador de posición de imagen 8"/>
          <p:cNvPicPr preferRelativeResize="0">
            <a:picLocks noGrp="1"/>
          </p:cNvPicPr>
          <p:nvPr>
            <p:ph type="pic" sz="quarter" idx="429496729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16" b="9116"/>
          <a:stretch>
            <a:fillRect/>
          </a:stretch>
        </p:blipFill>
        <p:spPr>
          <a:xfrm>
            <a:off x="924078" y="4720580"/>
            <a:ext cx="2267144" cy="880171"/>
          </a:xfrm>
        </p:spPr>
      </p:pic>
      <p:pic>
        <p:nvPicPr>
          <p:cNvPr id="12" name="Imagen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077" y="4039985"/>
            <a:ext cx="2267145" cy="491581"/>
          </a:xfrm>
          <a:prstGeom prst="rect">
            <a:avLst/>
          </a:prstGeom>
        </p:spPr>
      </p:pic>
      <p:sp>
        <p:nvSpPr>
          <p:cNvPr id="21" name="Marcador de texto 20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s-US" dirty="0" smtClean="0"/>
              <a:t>Arquitecto</a:t>
            </a:r>
            <a:endParaRPr lang="es-US" dirty="0"/>
          </a:p>
        </p:txBody>
      </p:sp>
    </p:spTree>
    <p:extLst>
      <p:ext uri="{BB962C8B-B14F-4D97-AF65-F5344CB8AC3E}">
        <p14:creationId xmlns:p14="http://schemas.microsoft.com/office/powerpoint/2010/main" val="3193701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5000" dirty="0" smtClean="0"/>
              <a:t>Caso de Éxito</a:t>
            </a:r>
            <a:endParaRPr lang="es-ES" sz="50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63" t="-667" r="10468" b="667"/>
          <a:stretch/>
        </p:blipFill>
        <p:spPr>
          <a:xfrm>
            <a:off x="6099048" y="-45637"/>
            <a:ext cx="6092952" cy="6926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2433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"/>
          <p:cNvSpPr txBox="1">
            <a:spLocks/>
          </p:cNvSpPr>
          <p:nvPr/>
        </p:nvSpPr>
        <p:spPr>
          <a:xfrm>
            <a:off x="730249" y="271648"/>
            <a:ext cx="11149013" cy="74789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100" baseline="0">
                <a:ln w="3175">
                  <a:noFill/>
                </a:ln>
                <a:solidFill>
                  <a:srgbClr val="0072C6"/>
                </a:soli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endParaRPr lang="es-CR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191999" cy="6858000"/>
          </a:xfrm>
          <a:prstGeom prst="rect">
            <a:avLst/>
          </a:prstGeom>
        </p:spPr>
      </p:pic>
      <p:grpSp>
        <p:nvGrpSpPr>
          <p:cNvPr id="20" name="Group 4"/>
          <p:cNvGrpSpPr/>
          <p:nvPr/>
        </p:nvGrpSpPr>
        <p:grpSpPr>
          <a:xfrm>
            <a:off x="6278838" y="2434949"/>
            <a:ext cx="2160000" cy="2160000"/>
            <a:chOff x="6278838" y="2434949"/>
            <a:chExt cx="2160000" cy="2160000"/>
          </a:xfrm>
        </p:grpSpPr>
        <p:sp>
          <p:nvSpPr>
            <p:cNvPr id="21" name="Rectangle 11"/>
            <p:cNvSpPr/>
            <p:nvPr/>
          </p:nvSpPr>
          <p:spPr bwMode="auto">
            <a:xfrm>
              <a:off x="6278838" y="2434949"/>
              <a:ext cx="2160000" cy="2160000"/>
            </a:xfrm>
            <a:prstGeom prst="rect">
              <a:avLst/>
            </a:prstGeom>
            <a:solidFill>
              <a:schemeClr val="accent1">
                <a:alpha val="8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14" tIns="54014" rIns="54014" bIns="54014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5757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S" dirty="0" smtClean="0">
                  <a:solidFill>
                    <a:schemeClr val="bg1"/>
                  </a:solidFill>
                </a:rPr>
                <a:t>40% mas de productos colocados en clientes   </a:t>
              </a:r>
              <a:endParaRPr lang="es-ES" dirty="0">
                <a:solidFill>
                  <a:schemeClr val="bg1"/>
                </a:solidFill>
              </a:endParaRPr>
            </a:p>
          </p:txBody>
        </p:sp>
        <p:pic>
          <p:nvPicPr>
            <p:cNvPr id="22" name="Picture 1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42286" y="2752757"/>
              <a:ext cx="833104" cy="1007837"/>
            </a:xfrm>
            <a:prstGeom prst="rect">
              <a:avLst/>
            </a:prstGeom>
          </p:spPr>
        </p:pic>
      </p:grpSp>
      <p:grpSp>
        <p:nvGrpSpPr>
          <p:cNvPr id="23" name="Group 6"/>
          <p:cNvGrpSpPr/>
          <p:nvPr/>
        </p:nvGrpSpPr>
        <p:grpSpPr>
          <a:xfrm>
            <a:off x="1155302" y="2434949"/>
            <a:ext cx="2160000" cy="2160000"/>
            <a:chOff x="1155302" y="2434949"/>
            <a:chExt cx="2160000" cy="2160000"/>
          </a:xfrm>
        </p:grpSpPr>
        <p:sp>
          <p:nvSpPr>
            <p:cNvPr id="24" name="Rectangle 8"/>
            <p:cNvSpPr/>
            <p:nvPr/>
          </p:nvSpPr>
          <p:spPr bwMode="auto">
            <a:xfrm>
              <a:off x="1155302" y="2434949"/>
              <a:ext cx="2160000" cy="2160000"/>
            </a:xfrm>
            <a:prstGeom prst="rect">
              <a:avLst/>
            </a:prstGeom>
            <a:solidFill>
              <a:schemeClr val="accent1">
                <a:alpha val="8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14" tIns="54014" rIns="54014" bIns="54014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s-ES" dirty="0" smtClean="0"/>
                <a:t>30% Almacenamiento</a:t>
              </a:r>
            </a:p>
            <a:p>
              <a:r>
                <a:rPr lang="es-ES" dirty="0" smtClean="0"/>
                <a:t>50% Traslado</a:t>
              </a:r>
              <a:endParaRPr lang="es-ES" dirty="0"/>
            </a:p>
          </p:txBody>
        </p:sp>
        <p:pic>
          <p:nvPicPr>
            <p:cNvPr id="25" name="Picture 22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66809" y="2812913"/>
              <a:ext cx="943749" cy="940990"/>
            </a:xfrm>
            <a:prstGeom prst="rect">
              <a:avLst/>
            </a:prstGeom>
          </p:spPr>
        </p:pic>
      </p:grpSp>
      <p:grpSp>
        <p:nvGrpSpPr>
          <p:cNvPr id="26" name="Group 7"/>
          <p:cNvGrpSpPr/>
          <p:nvPr/>
        </p:nvGrpSpPr>
        <p:grpSpPr>
          <a:xfrm>
            <a:off x="8840606" y="2434949"/>
            <a:ext cx="2160000" cy="2160000"/>
            <a:chOff x="8840606" y="2434949"/>
            <a:chExt cx="2160000" cy="2160000"/>
          </a:xfrm>
        </p:grpSpPr>
        <p:sp>
          <p:nvSpPr>
            <p:cNvPr id="27" name="Rectangle 5"/>
            <p:cNvSpPr/>
            <p:nvPr/>
          </p:nvSpPr>
          <p:spPr bwMode="auto">
            <a:xfrm>
              <a:off x="8840606" y="2434949"/>
              <a:ext cx="2160000" cy="2160000"/>
            </a:xfrm>
            <a:prstGeom prst="rect">
              <a:avLst/>
            </a:prstGeom>
            <a:solidFill>
              <a:schemeClr val="accent1">
                <a:alpha val="8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14" tIns="54014" rIns="54014" bIns="54014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s-ES" dirty="0" smtClean="0"/>
                <a:t>100% de mejoras en los tiempos </a:t>
              </a:r>
              <a:endParaRPr lang="es-ES" dirty="0"/>
            </a:p>
          </p:txBody>
        </p:sp>
        <p:pic>
          <p:nvPicPr>
            <p:cNvPr id="28" name="Picture 23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2749" y="2836977"/>
              <a:ext cx="1067995" cy="940990"/>
            </a:xfrm>
            <a:prstGeom prst="rect">
              <a:avLst/>
            </a:prstGeom>
          </p:spPr>
        </p:pic>
      </p:grpSp>
      <p:grpSp>
        <p:nvGrpSpPr>
          <p:cNvPr id="29" name="Group 9"/>
          <p:cNvGrpSpPr/>
          <p:nvPr/>
        </p:nvGrpSpPr>
        <p:grpSpPr>
          <a:xfrm>
            <a:off x="3717070" y="2434949"/>
            <a:ext cx="2160000" cy="2160000"/>
            <a:chOff x="3717070" y="2434949"/>
            <a:chExt cx="2160000" cy="2160000"/>
          </a:xfrm>
        </p:grpSpPr>
        <p:sp>
          <p:nvSpPr>
            <p:cNvPr id="30" name="Rectangle 14"/>
            <p:cNvSpPr/>
            <p:nvPr/>
          </p:nvSpPr>
          <p:spPr bwMode="auto">
            <a:xfrm>
              <a:off x="3717070" y="2434949"/>
              <a:ext cx="2160000" cy="2160000"/>
            </a:xfrm>
            <a:prstGeom prst="rect">
              <a:avLst/>
            </a:prstGeom>
            <a:solidFill>
              <a:schemeClr val="accent1">
                <a:alpha val="8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14" tIns="54014" rIns="54014" bIns="54014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s-ES" dirty="0" smtClean="0"/>
                <a:t>Cumplimiento de las nuevas normas gubernamentales</a:t>
              </a:r>
              <a:endParaRPr lang="es-ES" dirty="0"/>
            </a:p>
          </p:txBody>
        </p:sp>
        <p:pic>
          <p:nvPicPr>
            <p:cNvPr id="31" name="Picture 24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96365" y="2884567"/>
              <a:ext cx="1001409" cy="7201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42141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1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1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427512" y="869796"/>
            <a:ext cx="5089554" cy="5096106"/>
          </a:xfrm>
        </p:spPr>
        <p:txBody>
          <a:bodyPr/>
          <a:lstStyle/>
          <a:p>
            <a:r>
              <a:rPr lang="es-ES" sz="5000" dirty="0" smtClean="0"/>
              <a:t>¿Qué debo hacer?</a:t>
            </a:r>
            <a:endParaRPr lang="es-ES" sz="50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63" t="-667" r="10468" b="667"/>
          <a:stretch/>
        </p:blipFill>
        <p:spPr>
          <a:xfrm>
            <a:off x="6099048" y="-45637"/>
            <a:ext cx="6092952" cy="6926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5339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R" b="1" dirty="0" smtClean="0"/>
              <a:t>Comenzar</a:t>
            </a:r>
            <a:endParaRPr lang="es-CR" dirty="0"/>
          </a:p>
        </p:txBody>
      </p:sp>
      <p:sp>
        <p:nvSpPr>
          <p:cNvPr id="7" name="Title 2"/>
          <p:cNvSpPr txBox="1">
            <a:spLocks/>
          </p:cNvSpPr>
          <p:nvPr/>
        </p:nvSpPr>
        <p:spPr>
          <a:xfrm>
            <a:off x="1185719" y="365125"/>
            <a:ext cx="11149013" cy="97155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100" baseline="0">
                <a:ln w="3175">
                  <a:noFill/>
                </a:ln>
                <a:solidFill>
                  <a:srgbClr val="0072C6"/>
                </a:soli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endParaRPr lang="es-CR" dirty="0"/>
          </a:p>
        </p:txBody>
      </p:sp>
      <p:graphicFrame>
        <p:nvGraphicFramePr>
          <p:cNvPr id="5" name="4 Diagrama"/>
          <p:cNvGraphicFramePr/>
          <p:nvPr>
            <p:extLst>
              <p:ext uri="{D42A27DB-BD31-4B8C-83A1-F6EECF244321}">
                <p14:modId xmlns:p14="http://schemas.microsoft.com/office/powerpoint/2010/main" val="2630039964"/>
              </p:ext>
            </p:extLst>
          </p:nvPr>
        </p:nvGraphicFramePr>
        <p:xfrm>
          <a:off x="1936032" y="711052"/>
          <a:ext cx="8325135" cy="56578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4273686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ítulo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: </a:t>
            </a:r>
            <a:r>
              <a:rPr lang="en-US" dirty="0" err="1" smtClean="0"/>
              <a:t>Desplegando</a:t>
            </a:r>
            <a:r>
              <a:rPr lang="en-US" dirty="0" smtClean="0"/>
              <a:t> </a:t>
            </a:r>
            <a:r>
              <a:rPr lang="en-US" dirty="0" err="1" smtClean="0"/>
              <a:t>archivos</a:t>
            </a:r>
            <a:r>
              <a:rPr lang="en-US" dirty="0" smtClean="0"/>
              <a:t> de </a:t>
            </a:r>
            <a:r>
              <a:rPr lang="en-US" smtClean="0"/>
              <a:t>diseño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69399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smtClean="0"/>
              <a:t>Q&amp;A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231867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arcador de posición de imagen 6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49" b="29997"/>
          <a:stretch/>
        </p:blipFill>
        <p:spPr>
          <a:xfrm>
            <a:off x="924077" y="914400"/>
            <a:ext cx="2267145" cy="2589770"/>
          </a:xfrm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abian Imaz</a:t>
            </a:r>
            <a:endParaRPr lang="es-ES" dirty="0"/>
          </a:p>
        </p:txBody>
      </p:sp>
      <p:sp>
        <p:nvSpPr>
          <p:cNvPr id="16" name="Marcador de texto 15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 smtClean="0"/>
              <a:t>MVP SharePoint Server</a:t>
            </a:r>
            <a:endParaRPr lang="es-ES" dirty="0"/>
          </a:p>
        </p:txBody>
      </p:sp>
      <p:sp>
        <p:nvSpPr>
          <p:cNvPr id="17" name="Marcador de texto 16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 err="1" smtClean="0"/>
              <a:t>SiderysBsn</a:t>
            </a:r>
            <a:endParaRPr lang="es-ES" dirty="0"/>
          </a:p>
        </p:txBody>
      </p:sp>
      <p:sp>
        <p:nvSpPr>
          <p:cNvPr id="18" name="Marcador de texto 17"/>
          <p:cNvSpPr>
            <a:spLocks noGrp="1"/>
          </p:cNvSpPr>
          <p:nvPr>
            <p:ph type="body" sz="quarter" idx="15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 smtClean="0"/>
              <a:t>http://www.siderysbsn.com</a:t>
            </a:r>
            <a:endParaRPr lang="es-ES" dirty="0"/>
          </a:p>
        </p:txBody>
      </p:sp>
      <p:sp>
        <p:nvSpPr>
          <p:cNvPr id="19" name="Marcador de texto 18"/>
          <p:cNvSpPr>
            <a:spLocks noGrp="1"/>
          </p:cNvSpPr>
          <p:nvPr>
            <p:ph type="body" sz="quarter" idx="16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 smtClean="0"/>
              <a:t>http://blog.siderys.com</a:t>
            </a:r>
            <a:endParaRPr lang="es-ES" dirty="0"/>
          </a:p>
        </p:txBody>
      </p:sp>
      <p:sp>
        <p:nvSpPr>
          <p:cNvPr id="20" name="Marcador de texto 19"/>
          <p:cNvSpPr>
            <a:spLocks noGrp="1"/>
          </p:cNvSpPr>
          <p:nvPr>
            <p:ph type="body" sz="quarter" idx="17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 smtClean="0"/>
              <a:t>@</a:t>
            </a:r>
            <a:r>
              <a:rPr lang="en-US" dirty="0" err="1" smtClean="0"/>
              <a:t>fabianimaz</a:t>
            </a:r>
            <a:endParaRPr lang="es-ES" dirty="0"/>
          </a:p>
        </p:txBody>
      </p:sp>
      <p:pic>
        <p:nvPicPr>
          <p:cNvPr id="9" name="Marcador de posición de imagen 8"/>
          <p:cNvPicPr preferRelativeResize="0">
            <a:picLocks noGrp="1"/>
          </p:cNvPicPr>
          <p:nvPr>
            <p:ph type="pic" sz="quarter" idx="429496729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16" b="9116"/>
          <a:stretch>
            <a:fillRect/>
          </a:stretch>
        </p:blipFill>
        <p:spPr>
          <a:xfrm>
            <a:off x="924078" y="4720580"/>
            <a:ext cx="2267144" cy="880171"/>
          </a:xfrm>
        </p:spPr>
      </p:pic>
      <p:pic>
        <p:nvPicPr>
          <p:cNvPr id="12" name="Imagen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077" y="4039985"/>
            <a:ext cx="2267145" cy="491581"/>
          </a:xfrm>
          <a:prstGeom prst="rect">
            <a:avLst/>
          </a:prstGeom>
        </p:spPr>
      </p:pic>
      <p:sp>
        <p:nvSpPr>
          <p:cNvPr id="21" name="Marcador de texto 20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s-US" dirty="0" smtClean="0"/>
              <a:t>Arquitecto</a:t>
            </a:r>
            <a:endParaRPr lang="es-US" dirty="0"/>
          </a:p>
        </p:txBody>
      </p:sp>
    </p:spTree>
    <p:extLst>
      <p:ext uri="{BB962C8B-B14F-4D97-AF65-F5344CB8AC3E}">
        <p14:creationId xmlns:p14="http://schemas.microsoft.com/office/powerpoint/2010/main" val="3300089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17694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smtClean="0"/>
              <a:t>Como crear una solución ECM</a:t>
            </a:r>
            <a:br>
              <a:rPr lang="es-ES" dirty="0" smtClean="0"/>
            </a:br>
            <a:r>
              <a:rPr lang="es-ES" dirty="0" smtClean="0"/>
              <a:t>Cero Papel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561936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5000" dirty="0" smtClean="0"/>
              <a:t>¿Qué es ECM?</a:t>
            </a:r>
            <a:endParaRPr lang="es-ES" sz="5000" dirty="0"/>
          </a:p>
        </p:txBody>
      </p:sp>
      <p:pic>
        <p:nvPicPr>
          <p:cNvPr id="5" name="Marcador de posición de imagen 4"/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7" r="16667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001120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637" y="114144"/>
            <a:ext cx="11079159" cy="1325563"/>
          </a:xfrm>
        </p:spPr>
        <p:txBody>
          <a:bodyPr/>
          <a:lstStyle/>
          <a:p>
            <a:r>
              <a:rPr lang="es-CR" dirty="0" smtClean="0"/>
              <a:t>ECM es…..</a:t>
            </a:r>
            <a:endParaRPr lang="es-CR" dirty="0"/>
          </a:p>
        </p:txBody>
      </p:sp>
      <p:sp>
        <p:nvSpPr>
          <p:cNvPr id="7" name="Title 2"/>
          <p:cNvSpPr txBox="1">
            <a:spLocks/>
          </p:cNvSpPr>
          <p:nvPr/>
        </p:nvSpPr>
        <p:spPr>
          <a:xfrm>
            <a:off x="142957" y="136007"/>
            <a:ext cx="11149013" cy="74789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100" baseline="0">
                <a:ln w="3175">
                  <a:noFill/>
                </a:ln>
                <a:solidFill>
                  <a:srgbClr val="0072C6"/>
                </a:soli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endParaRPr lang="es-CR" dirty="0"/>
          </a:p>
        </p:txBody>
      </p:sp>
      <p:grpSp>
        <p:nvGrpSpPr>
          <p:cNvPr id="4" name="Group 3"/>
          <p:cNvGrpSpPr/>
          <p:nvPr/>
        </p:nvGrpSpPr>
        <p:grpSpPr>
          <a:xfrm>
            <a:off x="5032436" y="1300007"/>
            <a:ext cx="2286000" cy="2286000"/>
            <a:chOff x="5032436" y="1300007"/>
            <a:chExt cx="2286000" cy="2286000"/>
          </a:xfrm>
        </p:grpSpPr>
        <p:grpSp>
          <p:nvGrpSpPr>
            <p:cNvPr id="29" name="Group 28"/>
            <p:cNvGrpSpPr/>
            <p:nvPr/>
          </p:nvGrpSpPr>
          <p:grpSpPr>
            <a:xfrm>
              <a:off x="5032436" y="1300007"/>
              <a:ext cx="2286000" cy="2286000"/>
              <a:chOff x="4799012" y="1600200"/>
              <a:chExt cx="2514600" cy="2514600"/>
            </a:xfrm>
          </p:grpSpPr>
          <p:sp>
            <p:nvSpPr>
              <p:cNvPr id="30" name="Rectangle 29"/>
              <p:cNvSpPr/>
              <p:nvPr/>
            </p:nvSpPr>
            <p:spPr bwMode="auto">
              <a:xfrm>
                <a:off x="4799012" y="1600200"/>
                <a:ext cx="2514600" cy="25146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1" name="TextBox 30"/>
              <p:cNvSpPr txBox="1"/>
              <p:nvPr/>
            </p:nvSpPr>
            <p:spPr>
              <a:xfrm>
                <a:off x="4799012" y="3657601"/>
                <a:ext cx="2514600" cy="33855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s-US" sz="2000" spc="-70" dirty="0" smtClean="0">
                    <a:solidFill>
                      <a:schemeClr val="bg1"/>
                    </a:solidFill>
                    <a:latin typeface="+mj-lt"/>
                  </a:rPr>
                  <a:t>Controlar - Administrar</a:t>
                </a:r>
                <a:endParaRPr lang="es-US" sz="2000" spc="-7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pic>
          <p:nvPicPr>
            <p:cNvPr id="32" name="Picture 7" descr="\\MAGNUM\Projects\Microsoft\Cloud Power FY12\Design\ICONS_PNG\Control.png"/>
            <p:cNvPicPr>
              <a:picLocks noChangeAspect="1" noChangeArrowheads="1"/>
            </p:cNvPicPr>
            <p:nvPr/>
          </p:nvPicPr>
          <p:blipFill>
            <a:blip r:embed="rId3" cstate="print">
              <a:lum bright="100000"/>
            </a:blip>
            <a:srcRect/>
            <a:stretch>
              <a:fillRect/>
            </a:stretch>
          </p:blipFill>
          <p:spPr bwMode="auto">
            <a:xfrm>
              <a:off x="5261036" y="1391967"/>
              <a:ext cx="1828800" cy="1828800"/>
            </a:xfrm>
            <a:prstGeom prst="rect">
              <a:avLst/>
            </a:prstGeom>
            <a:noFill/>
          </p:spPr>
        </p:pic>
      </p:grpSp>
      <p:grpSp>
        <p:nvGrpSpPr>
          <p:cNvPr id="5" name="Group 4"/>
          <p:cNvGrpSpPr/>
          <p:nvPr/>
        </p:nvGrpSpPr>
        <p:grpSpPr>
          <a:xfrm>
            <a:off x="7547036" y="1300007"/>
            <a:ext cx="2286000" cy="2286000"/>
            <a:chOff x="7547036" y="1300007"/>
            <a:chExt cx="2286000" cy="2286000"/>
          </a:xfrm>
        </p:grpSpPr>
        <p:grpSp>
          <p:nvGrpSpPr>
            <p:cNvPr id="33" name="Group 32"/>
            <p:cNvGrpSpPr/>
            <p:nvPr/>
          </p:nvGrpSpPr>
          <p:grpSpPr>
            <a:xfrm>
              <a:off x="7547036" y="1300007"/>
              <a:ext cx="2286000" cy="2286000"/>
              <a:chOff x="7542212" y="1600200"/>
              <a:chExt cx="2514600" cy="2514600"/>
            </a:xfrm>
          </p:grpSpPr>
          <p:sp>
            <p:nvSpPr>
              <p:cNvPr id="34" name="Rectangle 33"/>
              <p:cNvSpPr/>
              <p:nvPr/>
            </p:nvSpPr>
            <p:spPr bwMode="auto">
              <a:xfrm>
                <a:off x="7542212" y="1600200"/>
                <a:ext cx="2514600" cy="25146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5" name="TextBox 34"/>
              <p:cNvSpPr txBox="1"/>
              <p:nvPr/>
            </p:nvSpPr>
            <p:spPr>
              <a:xfrm>
                <a:off x="7542212" y="3657600"/>
                <a:ext cx="2514600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s-US" sz="2400" spc="-70" dirty="0" smtClean="0">
                    <a:solidFill>
                      <a:schemeClr val="bg1"/>
                    </a:solidFill>
                    <a:latin typeface="+mj-lt"/>
                  </a:rPr>
                  <a:t>Proteger</a:t>
                </a:r>
                <a:endParaRPr lang="es-US" sz="2400" spc="-7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pic>
          <p:nvPicPr>
            <p:cNvPr id="36" name="Picture 15" descr="paper-lock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8080436" y="1803417"/>
              <a:ext cx="1219200" cy="13823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1" name="Rectangle 10"/>
          <p:cNvSpPr/>
          <p:nvPr/>
        </p:nvSpPr>
        <p:spPr>
          <a:xfrm>
            <a:off x="2517836" y="3683976"/>
            <a:ext cx="7315200" cy="59010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US" sz="2800" spc="-70" dirty="0">
                <a:solidFill>
                  <a:schemeClr val="bg1"/>
                </a:solidFill>
                <a:latin typeface="+mj-lt"/>
              </a:rPr>
              <a:t>Empresa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2517836" y="4389203"/>
            <a:ext cx="3566160" cy="2286000"/>
            <a:chOff x="2517836" y="4389203"/>
            <a:chExt cx="3566160" cy="2286000"/>
          </a:xfrm>
        </p:grpSpPr>
        <p:grpSp>
          <p:nvGrpSpPr>
            <p:cNvPr id="37" name="Group 36"/>
            <p:cNvGrpSpPr/>
            <p:nvPr/>
          </p:nvGrpSpPr>
          <p:grpSpPr>
            <a:xfrm>
              <a:off x="2517836" y="4389203"/>
              <a:ext cx="3566160" cy="2286000"/>
              <a:chOff x="2055812" y="1600200"/>
              <a:chExt cx="2514600" cy="2514600"/>
            </a:xfrm>
          </p:grpSpPr>
          <p:sp>
            <p:nvSpPr>
              <p:cNvPr id="38" name="Rectangle 37"/>
              <p:cNvSpPr/>
              <p:nvPr/>
            </p:nvSpPr>
            <p:spPr bwMode="auto">
              <a:xfrm>
                <a:off x="2055812" y="1600200"/>
                <a:ext cx="2514600" cy="25146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9" name="TextBox 38"/>
              <p:cNvSpPr txBox="1"/>
              <p:nvPr/>
            </p:nvSpPr>
            <p:spPr>
              <a:xfrm>
                <a:off x="2055812" y="3657600"/>
                <a:ext cx="2514600" cy="406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s-US" sz="2400" spc="-70" dirty="0" smtClean="0">
                    <a:solidFill>
                      <a:schemeClr val="bg1"/>
                    </a:solidFill>
                    <a:latin typeface="+mj-lt"/>
                  </a:rPr>
                  <a:t>Almacenar</a:t>
                </a:r>
                <a:endParaRPr lang="es-US" sz="2400" spc="-7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pic>
          <p:nvPicPr>
            <p:cNvPr id="55" name="Picture 54"/>
            <p:cNvPicPr>
              <a:picLocks noChangeAspect="1"/>
            </p:cNvPicPr>
            <p:nvPr/>
          </p:nvPicPr>
          <p:blipFill>
            <a:blip r:embed="rId5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60836" y="4691533"/>
              <a:ext cx="1457988" cy="1457988"/>
            </a:xfrm>
            <a:prstGeom prst="rect">
              <a:avLst/>
            </a:prstGeom>
          </p:spPr>
        </p:pic>
      </p:grpSp>
      <p:grpSp>
        <p:nvGrpSpPr>
          <p:cNvPr id="3" name="Group 2"/>
          <p:cNvGrpSpPr/>
          <p:nvPr/>
        </p:nvGrpSpPr>
        <p:grpSpPr>
          <a:xfrm>
            <a:off x="2517836" y="1300983"/>
            <a:ext cx="2286000" cy="2286000"/>
            <a:chOff x="2517836" y="1300983"/>
            <a:chExt cx="2286000" cy="2286000"/>
          </a:xfrm>
        </p:grpSpPr>
        <p:grpSp>
          <p:nvGrpSpPr>
            <p:cNvPr id="20" name="Group 19"/>
            <p:cNvGrpSpPr/>
            <p:nvPr/>
          </p:nvGrpSpPr>
          <p:grpSpPr>
            <a:xfrm>
              <a:off x="2517836" y="1300983"/>
              <a:ext cx="2286000" cy="2286000"/>
              <a:chOff x="2055812" y="1600200"/>
              <a:chExt cx="2514600" cy="2514600"/>
            </a:xfrm>
          </p:grpSpPr>
          <p:sp>
            <p:nvSpPr>
              <p:cNvPr id="21" name="Rectangle 20"/>
              <p:cNvSpPr/>
              <p:nvPr/>
            </p:nvSpPr>
            <p:spPr bwMode="auto">
              <a:xfrm>
                <a:off x="2055812" y="1600200"/>
                <a:ext cx="2514600" cy="25146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2" name="TextBox 21"/>
              <p:cNvSpPr txBox="1"/>
              <p:nvPr/>
            </p:nvSpPr>
            <p:spPr>
              <a:xfrm>
                <a:off x="2055812" y="3657600"/>
                <a:ext cx="2514600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s-US" sz="2400" spc="-70" dirty="0" smtClean="0">
                    <a:solidFill>
                      <a:schemeClr val="bg1"/>
                    </a:solidFill>
                    <a:latin typeface="+mj-lt"/>
                  </a:rPr>
                  <a:t>Crear - Capturar</a:t>
                </a:r>
                <a:endParaRPr lang="es-US" sz="2400" spc="-7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pic>
          <p:nvPicPr>
            <p:cNvPr id="28" name="Picture 3" descr="\\MAGNUM\Projects\Microsoft\Cloud Power FY12\Design\ICONS_PNG\Document.png"/>
            <p:cNvPicPr>
              <a:picLocks noChangeAspect="1" noChangeArrowheads="1"/>
            </p:cNvPicPr>
            <p:nvPr/>
          </p:nvPicPr>
          <p:blipFill>
            <a:blip r:embed="rId6" cstate="print">
              <a:lum bright="100000"/>
            </a:blip>
            <a:stretch>
              <a:fillRect/>
            </a:stretch>
          </p:blipFill>
          <p:spPr bwMode="auto">
            <a:xfrm>
              <a:off x="2746436" y="1445837"/>
              <a:ext cx="1828800" cy="1828800"/>
            </a:xfrm>
            <a:prstGeom prst="rect">
              <a:avLst/>
            </a:prstGeom>
            <a:noFill/>
          </p:spPr>
        </p:pic>
        <p:pic>
          <p:nvPicPr>
            <p:cNvPr id="25" name="Picture 3" descr="\\MAGNUM\Projects\Microsoft\Cloud Power FY12\Design\ICONS_PNG\Document.png"/>
            <p:cNvPicPr>
              <a:picLocks noChangeAspect="1" noChangeArrowheads="1"/>
            </p:cNvPicPr>
            <p:nvPr/>
          </p:nvPicPr>
          <p:blipFill>
            <a:blip r:embed="rId6" cstate="print">
              <a:lum bright="100000"/>
            </a:blip>
            <a:stretch>
              <a:fillRect/>
            </a:stretch>
          </p:blipFill>
          <p:spPr bwMode="auto">
            <a:xfrm>
              <a:off x="2746436" y="1439707"/>
              <a:ext cx="1828800" cy="1828800"/>
            </a:xfrm>
            <a:prstGeom prst="rect">
              <a:avLst/>
            </a:prstGeom>
            <a:noFill/>
          </p:spPr>
        </p:pic>
      </p:grpSp>
      <p:grpSp>
        <p:nvGrpSpPr>
          <p:cNvPr id="8" name="Group 7"/>
          <p:cNvGrpSpPr/>
          <p:nvPr/>
        </p:nvGrpSpPr>
        <p:grpSpPr>
          <a:xfrm>
            <a:off x="6266876" y="4389203"/>
            <a:ext cx="3566160" cy="2286000"/>
            <a:chOff x="6266876" y="4389203"/>
            <a:chExt cx="3566160" cy="2286000"/>
          </a:xfrm>
        </p:grpSpPr>
        <p:grpSp>
          <p:nvGrpSpPr>
            <p:cNvPr id="44" name="Group 43"/>
            <p:cNvGrpSpPr/>
            <p:nvPr/>
          </p:nvGrpSpPr>
          <p:grpSpPr>
            <a:xfrm>
              <a:off x="6266876" y="4389203"/>
              <a:ext cx="3566160" cy="2286000"/>
              <a:chOff x="2055812" y="1600200"/>
              <a:chExt cx="2514600" cy="2514600"/>
            </a:xfrm>
          </p:grpSpPr>
          <p:sp>
            <p:nvSpPr>
              <p:cNvPr id="45" name="Rectangle 44"/>
              <p:cNvSpPr/>
              <p:nvPr/>
            </p:nvSpPr>
            <p:spPr bwMode="auto">
              <a:xfrm>
                <a:off x="2055812" y="1600200"/>
                <a:ext cx="2514600" cy="25146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6" name="TextBox 45"/>
              <p:cNvSpPr txBox="1"/>
              <p:nvPr/>
            </p:nvSpPr>
            <p:spPr>
              <a:xfrm>
                <a:off x="2055812" y="3657600"/>
                <a:ext cx="2514600" cy="406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s-US" sz="2400" spc="-70" dirty="0" smtClean="0">
                    <a:solidFill>
                      <a:schemeClr val="bg1"/>
                    </a:solidFill>
                    <a:latin typeface="+mj-lt"/>
                  </a:rPr>
                  <a:t>Entregar</a:t>
                </a:r>
                <a:endParaRPr lang="es-US" sz="2400" spc="-7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pic>
          <p:nvPicPr>
            <p:cNvPr id="62" name="Picture 61"/>
            <p:cNvPicPr>
              <a:picLocks noChangeAspect="1"/>
            </p:cNvPicPr>
            <p:nvPr/>
          </p:nvPicPr>
          <p:blipFill rotWithShape="1">
            <a:blip r:embed="rId7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5378" b="15822"/>
            <a:stretch/>
          </p:blipFill>
          <p:spPr>
            <a:xfrm>
              <a:off x="6924101" y="4645938"/>
              <a:ext cx="2251710" cy="154917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72773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1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1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1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1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1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1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5000" dirty="0" smtClean="0"/>
              <a:t>¿Por qué?</a:t>
            </a:r>
            <a:endParaRPr lang="es-ES" sz="50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63" t="-667" r="10468" b="667"/>
          <a:stretch/>
        </p:blipFill>
        <p:spPr>
          <a:xfrm>
            <a:off x="6099048" y="-45637"/>
            <a:ext cx="6092952" cy="6926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1106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"/>
          <p:cNvSpPr txBox="1">
            <a:spLocks/>
          </p:cNvSpPr>
          <p:nvPr/>
        </p:nvSpPr>
        <p:spPr>
          <a:xfrm>
            <a:off x="520701" y="228601"/>
            <a:ext cx="11149013" cy="74789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100" baseline="0">
                <a:ln w="3175">
                  <a:noFill/>
                </a:ln>
                <a:solidFill>
                  <a:srgbClr val="0072C6"/>
                </a:soli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endParaRPr lang="es-CR" dirty="0"/>
          </a:p>
        </p:txBody>
      </p:sp>
      <p:pic>
        <p:nvPicPr>
          <p:cNvPr id="1026" name="Picture 2" descr="http://cepe.com.mx/imagenes/paperwork1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625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>
          <a:xfrm>
            <a:off x="1057830" y="2195698"/>
            <a:ext cx="2159999" cy="2108447"/>
            <a:chOff x="1057830" y="2195698"/>
            <a:chExt cx="2159999" cy="2108447"/>
          </a:xfrm>
        </p:grpSpPr>
        <p:grpSp>
          <p:nvGrpSpPr>
            <p:cNvPr id="12" name="Group 11"/>
            <p:cNvGrpSpPr/>
            <p:nvPr/>
          </p:nvGrpSpPr>
          <p:grpSpPr>
            <a:xfrm>
              <a:off x="1057830" y="2195698"/>
              <a:ext cx="2159999" cy="2108447"/>
              <a:chOff x="2055812" y="1600200"/>
              <a:chExt cx="2514600" cy="2514600"/>
            </a:xfrm>
          </p:grpSpPr>
          <p:sp>
            <p:nvSpPr>
              <p:cNvPr id="13" name="Rectangle 12"/>
              <p:cNvSpPr/>
              <p:nvPr/>
            </p:nvSpPr>
            <p:spPr bwMode="auto">
              <a:xfrm>
                <a:off x="2055812" y="1600200"/>
                <a:ext cx="2514600" cy="25146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4" name="TextBox 13"/>
              <p:cNvSpPr txBox="1"/>
              <p:nvPr/>
            </p:nvSpPr>
            <p:spPr>
              <a:xfrm>
                <a:off x="2055812" y="3638512"/>
                <a:ext cx="2514600" cy="33035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s-CR" spc="-100" dirty="0" smtClea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Almacenamiento</a:t>
                </a:r>
                <a:endParaRPr lang="es-CR" spc="-1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5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65261" y="2480733"/>
              <a:ext cx="1188720" cy="1188720"/>
            </a:xfrm>
            <a:prstGeom prst="rect">
              <a:avLst/>
            </a:prstGeom>
          </p:spPr>
        </p:pic>
      </p:grpSp>
      <p:grpSp>
        <p:nvGrpSpPr>
          <p:cNvPr id="3" name="Group 2"/>
          <p:cNvGrpSpPr/>
          <p:nvPr/>
        </p:nvGrpSpPr>
        <p:grpSpPr>
          <a:xfrm>
            <a:off x="3619597" y="2204146"/>
            <a:ext cx="2160001" cy="2099999"/>
            <a:chOff x="3619597" y="2204146"/>
            <a:chExt cx="2160001" cy="2099999"/>
          </a:xfrm>
        </p:grpSpPr>
        <p:grpSp>
          <p:nvGrpSpPr>
            <p:cNvPr id="19" name="Group 18"/>
            <p:cNvGrpSpPr/>
            <p:nvPr/>
          </p:nvGrpSpPr>
          <p:grpSpPr>
            <a:xfrm>
              <a:off x="3619597" y="2204146"/>
              <a:ext cx="2160001" cy="2099999"/>
              <a:chOff x="2055811" y="1600200"/>
              <a:chExt cx="2514601" cy="2514600"/>
            </a:xfrm>
          </p:grpSpPr>
          <p:sp>
            <p:nvSpPr>
              <p:cNvPr id="20" name="Rectangle 19"/>
              <p:cNvSpPr/>
              <p:nvPr/>
            </p:nvSpPr>
            <p:spPr bwMode="auto">
              <a:xfrm>
                <a:off x="2055812" y="1600200"/>
                <a:ext cx="2514600" cy="25146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1" name="TextBox 20"/>
              <p:cNvSpPr txBox="1"/>
              <p:nvPr/>
            </p:nvSpPr>
            <p:spPr>
              <a:xfrm>
                <a:off x="2055811" y="3636597"/>
                <a:ext cx="2514600" cy="33168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s-CR" spc="-1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Documentos duplicados </a:t>
                </a:r>
              </a:p>
            </p:txBody>
          </p:sp>
        </p:grpSp>
        <p:pic>
          <p:nvPicPr>
            <p:cNvPr id="103" name="Picture 102"/>
            <p:cNvPicPr>
              <a:picLocks noChangeAspect="1"/>
            </p:cNvPicPr>
            <p:nvPr/>
          </p:nvPicPr>
          <p:blipFill>
            <a:blip r:embed="rId6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78206" y="2480733"/>
              <a:ext cx="1188720" cy="1188720"/>
            </a:xfrm>
            <a:prstGeom prst="rect">
              <a:avLst/>
            </a:prstGeom>
          </p:spPr>
        </p:pic>
      </p:grpSp>
      <p:grpSp>
        <p:nvGrpSpPr>
          <p:cNvPr id="4" name="Group 3"/>
          <p:cNvGrpSpPr/>
          <p:nvPr/>
        </p:nvGrpSpPr>
        <p:grpSpPr>
          <a:xfrm>
            <a:off x="6181366" y="2200084"/>
            <a:ext cx="2160000" cy="2104061"/>
            <a:chOff x="6181366" y="2200084"/>
            <a:chExt cx="2160000" cy="2104061"/>
          </a:xfrm>
        </p:grpSpPr>
        <p:grpSp>
          <p:nvGrpSpPr>
            <p:cNvPr id="22" name="Group 21"/>
            <p:cNvGrpSpPr/>
            <p:nvPr/>
          </p:nvGrpSpPr>
          <p:grpSpPr>
            <a:xfrm>
              <a:off x="6181366" y="2200084"/>
              <a:ext cx="2160000" cy="2104061"/>
              <a:chOff x="2055812" y="1600200"/>
              <a:chExt cx="2514600" cy="2514600"/>
            </a:xfrm>
          </p:grpSpPr>
          <p:sp>
            <p:nvSpPr>
              <p:cNvPr id="23" name="Rectangle 22"/>
              <p:cNvSpPr/>
              <p:nvPr/>
            </p:nvSpPr>
            <p:spPr bwMode="auto">
              <a:xfrm>
                <a:off x="2055812" y="1600200"/>
                <a:ext cx="2514600" cy="25146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4" name="TextBox 23"/>
              <p:cNvSpPr txBox="1"/>
              <p:nvPr/>
            </p:nvSpPr>
            <p:spPr>
              <a:xfrm>
                <a:off x="2055812" y="3637518"/>
                <a:ext cx="2514600" cy="33104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s-CR" spc="-100" dirty="0" smtClea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Encontrar</a:t>
                </a:r>
                <a:endParaRPr lang="es-CR" spc="-1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pic>
          <p:nvPicPr>
            <p:cNvPr id="104" name="Picture 103"/>
            <p:cNvPicPr>
              <a:picLocks noChangeAspect="1"/>
            </p:cNvPicPr>
            <p:nvPr/>
          </p:nvPicPr>
          <p:blipFill>
            <a:blip r:embed="rId7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97883" y="2480733"/>
              <a:ext cx="1188720" cy="1188720"/>
            </a:xfrm>
            <a:prstGeom prst="rect">
              <a:avLst/>
            </a:prstGeom>
          </p:spPr>
        </p:pic>
      </p:grpSp>
      <p:grpSp>
        <p:nvGrpSpPr>
          <p:cNvPr id="5" name="Group 4"/>
          <p:cNvGrpSpPr/>
          <p:nvPr/>
        </p:nvGrpSpPr>
        <p:grpSpPr>
          <a:xfrm>
            <a:off x="8739274" y="2204146"/>
            <a:ext cx="2163860" cy="2099999"/>
            <a:chOff x="8739274" y="2204146"/>
            <a:chExt cx="2163860" cy="2099999"/>
          </a:xfrm>
        </p:grpSpPr>
        <p:grpSp>
          <p:nvGrpSpPr>
            <p:cNvPr id="25" name="Group 24"/>
            <p:cNvGrpSpPr/>
            <p:nvPr/>
          </p:nvGrpSpPr>
          <p:grpSpPr>
            <a:xfrm>
              <a:off x="8739274" y="2204146"/>
              <a:ext cx="2163860" cy="2099999"/>
              <a:chOff x="2051318" y="1629165"/>
              <a:chExt cx="2519094" cy="2514600"/>
            </a:xfrm>
          </p:grpSpPr>
          <p:sp>
            <p:nvSpPr>
              <p:cNvPr id="26" name="Rectangle 25"/>
              <p:cNvSpPr/>
              <p:nvPr/>
            </p:nvSpPr>
            <p:spPr bwMode="auto">
              <a:xfrm>
                <a:off x="2055812" y="1629165"/>
                <a:ext cx="2514600" cy="25146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7" name="TextBox 26"/>
              <p:cNvSpPr txBox="1"/>
              <p:nvPr/>
            </p:nvSpPr>
            <p:spPr>
              <a:xfrm>
                <a:off x="2051318" y="3665560"/>
                <a:ext cx="2514600" cy="33168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s-CR" spc="-100" dirty="0" smtClea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Impresión/Traslados</a:t>
                </a:r>
                <a:endParaRPr lang="es-CR" spc="-1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pic>
          <p:nvPicPr>
            <p:cNvPr id="109" name="Picture 108"/>
            <p:cNvPicPr>
              <a:picLocks noChangeAspect="1"/>
            </p:cNvPicPr>
            <p:nvPr/>
          </p:nvPicPr>
          <p:blipFill>
            <a:blip r:embed="rId8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24914" y="2480733"/>
              <a:ext cx="1188720" cy="1188720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3288361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1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1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"/>
          <p:cNvSpPr txBox="1">
            <a:spLocks/>
          </p:cNvSpPr>
          <p:nvPr/>
        </p:nvSpPr>
        <p:spPr>
          <a:xfrm>
            <a:off x="520701" y="228601"/>
            <a:ext cx="11149013" cy="74789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100" baseline="0">
                <a:ln w="3175">
                  <a:noFill/>
                </a:ln>
                <a:solidFill>
                  <a:srgbClr val="0072C6"/>
                </a:soli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endParaRPr lang="es-CR" dirty="0"/>
          </a:p>
        </p:txBody>
      </p:sp>
      <p:pic>
        <p:nvPicPr>
          <p:cNvPr id="2050" name="Picture 2" descr="http://www.strato-alojamiento.es/_assets_es/image/section/press/download/datacenter/big/plataforma_de_almacenamiento_patentada_en_el_centro_de_datos_de_strato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633"/>
          <a:stretch/>
        </p:blipFill>
        <p:spPr bwMode="auto">
          <a:xfrm>
            <a:off x="0" y="0"/>
            <a:ext cx="12192000" cy="6863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>
          <a:xfrm>
            <a:off x="1057830" y="2195698"/>
            <a:ext cx="2159999" cy="2108447"/>
            <a:chOff x="1057830" y="2195698"/>
            <a:chExt cx="2159999" cy="2108447"/>
          </a:xfrm>
        </p:grpSpPr>
        <p:grpSp>
          <p:nvGrpSpPr>
            <p:cNvPr id="11" name="Group 10"/>
            <p:cNvGrpSpPr/>
            <p:nvPr/>
          </p:nvGrpSpPr>
          <p:grpSpPr>
            <a:xfrm>
              <a:off x="1057830" y="2195698"/>
              <a:ext cx="2159999" cy="2108447"/>
              <a:chOff x="2055812" y="1600200"/>
              <a:chExt cx="2514600" cy="2514600"/>
            </a:xfrm>
          </p:grpSpPr>
          <p:sp>
            <p:nvSpPr>
              <p:cNvPr id="12" name="Rectangle 11"/>
              <p:cNvSpPr/>
              <p:nvPr/>
            </p:nvSpPr>
            <p:spPr bwMode="auto">
              <a:xfrm>
                <a:off x="2055812" y="1600200"/>
                <a:ext cx="2514600" cy="25146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3" name="TextBox 12"/>
              <p:cNvSpPr txBox="1"/>
              <p:nvPr/>
            </p:nvSpPr>
            <p:spPr>
              <a:xfrm>
                <a:off x="2055812" y="3638512"/>
                <a:ext cx="2514600" cy="33035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s-CR" spc="-100" dirty="0" smtClea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Almacenamiento</a:t>
                </a:r>
                <a:endParaRPr lang="es-CR" spc="-1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pic>
          <p:nvPicPr>
            <p:cNvPr id="23" name="Picture 22"/>
            <p:cNvPicPr>
              <a:picLocks noChangeAspect="1"/>
            </p:cNvPicPr>
            <p:nvPr/>
          </p:nvPicPr>
          <p:blipFill>
            <a:blip r:embed="rId4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65261" y="2480733"/>
              <a:ext cx="1188720" cy="1188720"/>
            </a:xfrm>
            <a:prstGeom prst="rect">
              <a:avLst/>
            </a:prstGeom>
          </p:spPr>
        </p:pic>
      </p:grpSp>
      <p:grpSp>
        <p:nvGrpSpPr>
          <p:cNvPr id="3" name="Group 2"/>
          <p:cNvGrpSpPr/>
          <p:nvPr/>
        </p:nvGrpSpPr>
        <p:grpSpPr>
          <a:xfrm>
            <a:off x="3619597" y="2204146"/>
            <a:ext cx="2160001" cy="2099999"/>
            <a:chOff x="3619597" y="2204146"/>
            <a:chExt cx="2160001" cy="2099999"/>
          </a:xfrm>
        </p:grpSpPr>
        <p:grpSp>
          <p:nvGrpSpPr>
            <p:cNvPr id="14" name="Group 13"/>
            <p:cNvGrpSpPr/>
            <p:nvPr/>
          </p:nvGrpSpPr>
          <p:grpSpPr>
            <a:xfrm>
              <a:off x="3619597" y="2204146"/>
              <a:ext cx="2160001" cy="2099999"/>
              <a:chOff x="2055811" y="1600200"/>
              <a:chExt cx="2514601" cy="2514600"/>
            </a:xfrm>
          </p:grpSpPr>
          <p:sp>
            <p:nvSpPr>
              <p:cNvPr id="15" name="Rectangle 14"/>
              <p:cNvSpPr/>
              <p:nvPr/>
            </p:nvSpPr>
            <p:spPr bwMode="auto">
              <a:xfrm>
                <a:off x="2055812" y="1600200"/>
                <a:ext cx="2514600" cy="25146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6" name="TextBox 15"/>
              <p:cNvSpPr txBox="1"/>
              <p:nvPr/>
            </p:nvSpPr>
            <p:spPr>
              <a:xfrm>
                <a:off x="2055811" y="3636597"/>
                <a:ext cx="2514600" cy="33168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s-CR" spc="-1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Documentos duplicados </a:t>
                </a:r>
              </a:p>
            </p:txBody>
          </p:sp>
        </p:grpSp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5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78206" y="2480733"/>
              <a:ext cx="1188720" cy="1188720"/>
            </a:xfrm>
            <a:prstGeom prst="rect">
              <a:avLst/>
            </a:prstGeom>
          </p:spPr>
        </p:pic>
      </p:grpSp>
      <p:grpSp>
        <p:nvGrpSpPr>
          <p:cNvPr id="4" name="Group 3"/>
          <p:cNvGrpSpPr/>
          <p:nvPr/>
        </p:nvGrpSpPr>
        <p:grpSpPr>
          <a:xfrm>
            <a:off x="6181366" y="2200084"/>
            <a:ext cx="2160000" cy="2104061"/>
            <a:chOff x="6181366" y="2200084"/>
            <a:chExt cx="2160000" cy="2104061"/>
          </a:xfrm>
        </p:grpSpPr>
        <p:grpSp>
          <p:nvGrpSpPr>
            <p:cNvPr id="17" name="Group 16"/>
            <p:cNvGrpSpPr/>
            <p:nvPr/>
          </p:nvGrpSpPr>
          <p:grpSpPr>
            <a:xfrm>
              <a:off x="6181366" y="2200084"/>
              <a:ext cx="2160000" cy="2104061"/>
              <a:chOff x="2055812" y="1600200"/>
              <a:chExt cx="2514600" cy="2514600"/>
            </a:xfrm>
          </p:grpSpPr>
          <p:sp>
            <p:nvSpPr>
              <p:cNvPr id="18" name="Rectangle 17"/>
              <p:cNvSpPr/>
              <p:nvPr/>
            </p:nvSpPr>
            <p:spPr bwMode="auto">
              <a:xfrm>
                <a:off x="2055812" y="1600200"/>
                <a:ext cx="2514600" cy="25146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9" name="TextBox 18"/>
              <p:cNvSpPr txBox="1"/>
              <p:nvPr/>
            </p:nvSpPr>
            <p:spPr>
              <a:xfrm>
                <a:off x="2055812" y="3637518"/>
                <a:ext cx="2514600" cy="33104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s-CR" spc="-100" dirty="0" smtClea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Encontrar</a:t>
                </a:r>
                <a:endParaRPr lang="es-CR" spc="-1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6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97883" y="2480733"/>
              <a:ext cx="1188720" cy="1188720"/>
            </a:xfrm>
            <a:prstGeom prst="rect">
              <a:avLst/>
            </a:prstGeom>
          </p:spPr>
        </p:pic>
      </p:grpSp>
      <p:grpSp>
        <p:nvGrpSpPr>
          <p:cNvPr id="5" name="Group 4"/>
          <p:cNvGrpSpPr/>
          <p:nvPr/>
        </p:nvGrpSpPr>
        <p:grpSpPr>
          <a:xfrm>
            <a:off x="8739274" y="2204146"/>
            <a:ext cx="2163860" cy="2099999"/>
            <a:chOff x="8739274" y="2204146"/>
            <a:chExt cx="2163860" cy="2099999"/>
          </a:xfrm>
        </p:grpSpPr>
        <p:grpSp>
          <p:nvGrpSpPr>
            <p:cNvPr id="20" name="Group 19"/>
            <p:cNvGrpSpPr/>
            <p:nvPr/>
          </p:nvGrpSpPr>
          <p:grpSpPr>
            <a:xfrm>
              <a:off x="8739274" y="2204146"/>
              <a:ext cx="2163860" cy="2099999"/>
              <a:chOff x="2051318" y="1629165"/>
              <a:chExt cx="2519094" cy="2514600"/>
            </a:xfrm>
          </p:grpSpPr>
          <p:sp>
            <p:nvSpPr>
              <p:cNvPr id="21" name="Rectangle 20"/>
              <p:cNvSpPr/>
              <p:nvPr/>
            </p:nvSpPr>
            <p:spPr bwMode="auto">
              <a:xfrm>
                <a:off x="2055812" y="1629165"/>
                <a:ext cx="2514600" cy="25146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2" name="TextBox 21"/>
              <p:cNvSpPr txBox="1"/>
              <p:nvPr/>
            </p:nvSpPr>
            <p:spPr>
              <a:xfrm>
                <a:off x="2051318" y="3665560"/>
                <a:ext cx="2514600" cy="33168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s-CR" spc="-100" dirty="0" smtClea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Gobernabilidad</a:t>
                </a:r>
                <a:endParaRPr lang="es-CR" spc="-1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pic>
          <p:nvPicPr>
            <p:cNvPr id="26" name="Picture 25"/>
            <p:cNvPicPr>
              <a:picLocks noChangeAspect="1"/>
            </p:cNvPicPr>
            <p:nvPr/>
          </p:nvPicPr>
          <p:blipFill>
            <a:blip r:embed="rId7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24914" y="2480733"/>
              <a:ext cx="1188720" cy="11887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52289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1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1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X90YnkGEG33FCjZsbUpw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07</TotalTime>
  <Words>1013</Words>
  <Application>Microsoft Office PowerPoint</Application>
  <PresentationFormat>Panorámica</PresentationFormat>
  <Paragraphs>272</Paragraphs>
  <Slides>37</Slides>
  <Notes>15</Notes>
  <HiddenSlides>2</HiddenSlides>
  <MMClips>0</MMClips>
  <ScaleCrop>false</ScaleCrop>
  <HeadingPairs>
    <vt:vector size="6" baseType="variant">
      <vt:variant>
        <vt:lpstr>Fuentes usadas</vt:lpstr>
      </vt:variant>
      <vt:variant>
        <vt:i4>10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37</vt:i4>
      </vt:variant>
    </vt:vector>
  </HeadingPairs>
  <TitlesOfParts>
    <vt:vector size="48" baseType="lpstr">
      <vt:lpstr>Calibri Light</vt:lpstr>
      <vt:lpstr>Wingdings</vt:lpstr>
      <vt:lpstr>Calibri</vt:lpstr>
      <vt:lpstr>Segoe Pro Light</vt:lpstr>
      <vt:lpstr>Segoe Condensed</vt:lpstr>
      <vt:lpstr>Rabiohead</vt:lpstr>
      <vt:lpstr>Arial</vt:lpstr>
      <vt:lpstr>Segoe UI</vt:lpstr>
      <vt:lpstr>Segoe UI </vt:lpstr>
      <vt:lpstr>Segoe UI Light</vt:lpstr>
      <vt:lpstr>Tema de Office</vt:lpstr>
      <vt:lpstr>Presentación de PowerPoint</vt:lpstr>
      <vt:lpstr>Presentación de PowerPoint</vt:lpstr>
      <vt:lpstr>Fabian Imaz</vt:lpstr>
      <vt:lpstr>Como crear una solución ECM Cero Papel</vt:lpstr>
      <vt:lpstr>¿Qué es ECM?</vt:lpstr>
      <vt:lpstr>ECM es…..</vt:lpstr>
      <vt:lpstr>¿Por qué?</vt:lpstr>
      <vt:lpstr>Presentación de PowerPoint</vt:lpstr>
      <vt:lpstr>Presentación de PowerPoint</vt:lpstr>
      <vt:lpstr>¿Cómo sería el proceso?</vt:lpstr>
      <vt:lpstr>Definición </vt:lpstr>
      <vt:lpstr>Continuo</vt:lpstr>
      <vt:lpstr>Presentación de PowerPoint</vt:lpstr>
      <vt:lpstr>¿Por qué SharePoint?</vt:lpstr>
      <vt:lpstr>Presentación de PowerPoint</vt:lpstr>
      <vt:lpstr>Para una solución ECM</vt:lpstr>
      <vt:lpstr>Crear - Capturar</vt:lpstr>
      <vt:lpstr>Tipos de Contenidos</vt:lpstr>
      <vt:lpstr>Metadatos</vt:lpstr>
      <vt:lpstr>Conjunto de Documentos</vt:lpstr>
      <vt:lpstr>Social…</vt:lpstr>
      <vt:lpstr>Administración Contenido Web - WCM </vt:lpstr>
      <vt:lpstr>Controlar - Administrar</vt:lpstr>
      <vt:lpstr>Taxonomía</vt:lpstr>
      <vt:lpstr>Búsqueda </vt:lpstr>
      <vt:lpstr>Servicios de Conectividad Empresarial (BCS)</vt:lpstr>
      <vt:lpstr>Proteger</vt:lpstr>
      <vt:lpstr>Manejo de Registros</vt:lpstr>
      <vt:lpstr>eDiscovery</vt:lpstr>
      <vt:lpstr>Caso de Éxito</vt:lpstr>
      <vt:lpstr>Presentación de PowerPoint</vt:lpstr>
      <vt:lpstr>¿Qué debo hacer?</vt:lpstr>
      <vt:lpstr>Comenzar</vt:lpstr>
      <vt:lpstr>Demo: Desplegando archivos de diseño</vt:lpstr>
      <vt:lpstr>Q&amp;A</vt:lpstr>
      <vt:lpstr>Fabian Imaz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Santiago Porras Rodríguez</dc:creator>
  <cp:lastModifiedBy>Juan Carlos González Martín</cp:lastModifiedBy>
  <cp:revision>143</cp:revision>
  <dcterms:created xsi:type="dcterms:W3CDTF">2013-08-20T12:49:39Z</dcterms:created>
  <dcterms:modified xsi:type="dcterms:W3CDTF">2015-06-10T09:55:05Z</dcterms:modified>
</cp:coreProperties>
</file>